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media/image1.bin" ContentType="image/x-emf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media/image2.bin" ContentType="image/png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media/image3.bin" ContentType="image/png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0.xml" ContentType="application/vnd.openxmlformats-officedocument.presentationml.tags+xml"/>
  <Override PartName="/ppt/notesSlides/notesSlide7.xml" ContentType="application/vnd.openxmlformats-officedocument.presentationml.notesSlide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tags/tag33.xml" ContentType="application/vnd.openxmlformats-officedocument.presentationml.tags+xml"/>
  <Override PartName="/ppt/notesSlides/notesSlide10.xml" ContentType="application/vnd.openxmlformats-officedocument.presentationml.notesSlide+xml"/>
  <Override PartName="/ppt/tags/tag34.xml" ContentType="application/vnd.openxmlformats-officedocument.presentationml.tags+xml"/>
  <Override PartName="/ppt/notesSlides/notesSlide11.xml" ContentType="application/vnd.openxmlformats-officedocument.presentationml.notesSlide+xml"/>
  <Override PartName="/ppt/tags/tag35.xml" ContentType="application/vnd.openxmlformats-officedocument.presentationml.tags+xml"/>
  <Override PartName="/ppt/notesSlides/notesSlide12.xml" ContentType="application/vnd.openxmlformats-officedocument.presentationml.notesSlide+xml"/>
  <Override PartName="/ppt/tags/tag36.xml" ContentType="application/vnd.openxmlformats-officedocument.presentationml.tags+xml"/>
  <Override PartName="/ppt/notesSlides/notesSlide13.xml" ContentType="application/vnd.openxmlformats-officedocument.presentationml.notesSlide+xml"/>
  <Override PartName="/ppt/tags/tag37.xml" ContentType="application/vnd.openxmlformats-officedocument.presentationml.tags+xml"/>
  <Override PartName="/ppt/notesSlides/notesSlide14.xml" ContentType="application/vnd.openxmlformats-officedocument.presentationml.notesSlide+xml"/>
  <Override PartName="/ppt/tags/tag38.xml" ContentType="application/vnd.openxmlformats-officedocument.presentationml.tags+xml"/>
  <Override PartName="/ppt/notesSlides/notesSlide15.xml" ContentType="application/vnd.openxmlformats-officedocument.presentationml.notesSlide+xml"/>
  <Override PartName="/ppt/tags/tag39.xml" ContentType="application/vnd.openxmlformats-officedocument.presentationml.tags+xml"/>
  <Override PartName="/ppt/notesSlides/notesSlide16.xml" ContentType="application/vnd.openxmlformats-officedocument.presentationml.notesSlide+xml"/>
  <Override PartName="/ppt/tags/tag40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5"/>
  </p:notesMasterIdLst>
  <p:sldIdLst>
    <p:sldId id="256" r:id="rId3"/>
    <p:sldId id="498" r:id="rId4"/>
    <p:sldId id="471" r:id="rId5"/>
    <p:sldId id="481" r:id="rId6"/>
    <p:sldId id="483" r:id="rId7"/>
    <p:sldId id="484" r:id="rId8"/>
    <p:sldId id="473" r:id="rId9"/>
    <p:sldId id="489" r:id="rId10"/>
    <p:sldId id="499" r:id="rId11"/>
    <p:sldId id="503" r:id="rId12"/>
    <p:sldId id="474" r:id="rId13"/>
    <p:sldId id="507" r:id="rId14"/>
    <p:sldId id="508" r:id="rId15"/>
    <p:sldId id="515" r:id="rId16"/>
    <p:sldId id="514" r:id="rId17"/>
    <p:sldId id="475" r:id="rId18"/>
    <p:sldId id="506" r:id="rId19"/>
    <p:sldId id="476" r:id="rId20"/>
    <p:sldId id="511" r:id="rId21"/>
    <p:sldId id="510" r:id="rId22"/>
    <p:sldId id="513" r:id="rId23"/>
    <p:sldId id="512" r:id="rId24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33187D70-DCCE-4843-988D-9D60038F6D55}">
          <p14:sldIdLst>
            <p14:sldId id="256"/>
            <p14:sldId id="498"/>
            <p14:sldId id="471"/>
            <p14:sldId id="481"/>
            <p14:sldId id="483"/>
            <p14:sldId id="484"/>
            <p14:sldId id="473"/>
            <p14:sldId id="489"/>
            <p14:sldId id="499"/>
            <p14:sldId id="503"/>
            <p14:sldId id="474"/>
            <p14:sldId id="507"/>
            <p14:sldId id="508"/>
            <p14:sldId id="515"/>
            <p14:sldId id="514"/>
            <p14:sldId id="475"/>
            <p14:sldId id="506"/>
            <p14:sldId id="476"/>
            <p14:sldId id="511"/>
            <p14:sldId id="510"/>
            <p14:sldId id="513"/>
            <p14:sldId id="51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46A38"/>
    <a:srgbClr val="0D8390"/>
    <a:srgbClr val="26890D"/>
    <a:srgbClr val="86BC25"/>
    <a:srgbClr val="005587"/>
    <a:srgbClr val="007C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5" d="100"/>
          <a:sy n="75" d="100"/>
        </p:scale>
        <p:origin x="94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0" d="100"/>
          <a:sy n="60" d="100"/>
        </p:scale>
        <p:origin x="3264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21AD182-A6EC-4D44-BC17-2519D80664EF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2C945879-8AD2-472F-9840-E68DD99192A1}">
      <dgm:prSet phldrT="[Text]" custT="1"/>
      <dgm:spPr>
        <a:noFill/>
      </dgm:spPr>
      <dgm:t>
        <a:bodyPr/>
        <a:lstStyle/>
        <a:p>
          <a:pPr>
            <a:buSzPct val="100000"/>
            <a:buFont typeface="Arial"/>
            <a:buChar char="•"/>
          </a:pPr>
          <a:r>
            <a:rPr lang="de-DE" sz="1800" dirty="0">
              <a:solidFill>
                <a:schemeClr val="tx1"/>
              </a:solidFill>
            </a:rPr>
            <a:t>Transport </a:t>
          </a:r>
          <a:r>
            <a:rPr lang="de-DE" sz="1800" dirty="0" err="1">
              <a:solidFill>
                <a:schemeClr val="tx1"/>
              </a:solidFill>
            </a:rPr>
            <a:t>entire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herd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o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arget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position</a:t>
          </a:r>
          <a:endParaRPr lang="de-DE" sz="1800" dirty="0">
            <a:solidFill>
              <a:schemeClr val="tx1"/>
            </a:solidFill>
          </a:endParaRPr>
        </a:p>
      </dgm:t>
    </dgm:pt>
    <dgm:pt modelId="{49FF4A1D-A73E-4F35-B566-44A782E27A43}" type="parTrans" cxnId="{00F98DFC-783F-40A5-915F-6EE3EC0C52D3}">
      <dgm:prSet/>
      <dgm:spPr/>
      <dgm:t>
        <a:bodyPr/>
        <a:lstStyle/>
        <a:p>
          <a:endParaRPr lang="de-DE"/>
        </a:p>
      </dgm:t>
    </dgm:pt>
    <dgm:pt modelId="{0D411981-CEA5-475B-BB3F-69416677B132}" type="sibTrans" cxnId="{00F98DFC-783F-40A5-915F-6EE3EC0C52D3}">
      <dgm:prSet/>
      <dgm:spPr/>
      <dgm:t>
        <a:bodyPr/>
        <a:lstStyle/>
        <a:p>
          <a:endParaRPr lang="de-DE"/>
        </a:p>
      </dgm:t>
    </dgm:pt>
    <dgm:pt modelId="{30D90061-E841-4746-BE97-26142A473E89}">
      <dgm:prSet phldrT="[Text]" custT="1"/>
      <dgm:spPr>
        <a:noFill/>
      </dgm:spPr>
      <dgm:t>
        <a:bodyPr/>
        <a:lstStyle/>
        <a:p>
          <a:pPr>
            <a:buSzPct val="100000"/>
            <a:buFont typeface="+mj-lt"/>
            <a:buAutoNum type="arabicPeriod"/>
          </a:pPr>
          <a:r>
            <a:rPr lang="de-DE" sz="1800" dirty="0">
              <a:solidFill>
                <a:schemeClr val="tx1"/>
              </a:solidFill>
            </a:rPr>
            <a:t>Move </a:t>
          </a:r>
          <a:r>
            <a:rPr lang="de-DE" sz="1800" dirty="0" err="1">
              <a:solidFill>
                <a:schemeClr val="tx1"/>
              </a:solidFill>
            </a:rPr>
            <a:t>herd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o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arget</a:t>
          </a:r>
          <a:r>
            <a:rPr lang="de-DE" sz="1800" dirty="0">
              <a:solidFill>
                <a:schemeClr val="tx1"/>
              </a:solidFill>
            </a:rPr>
            <a:t> </a:t>
          </a:r>
        </a:p>
      </dgm:t>
    </dgm:pt>
    <dgm:pt modelId="{3DA96048-D8D1-40F9-8AED-B72440D8A8F8}" type="parTrans" cxnId="{3147D20E-8F24-4D61-8BD3-BBDBFFD539F2}">
      <dgm:prSet/>
      <dgm:spPr>
        <a:ln>
          <a:solidFill>
            <a:schemeClr val="tx1"/>
          </a:solidFill>
        </a:ln>
      </dgm:spPr>
      <dgm:t>
        <a:bodyPr/>
        <a:lstStyle/>
        <a:p>
          <a:endParaRPr lang="de-DE"/>
        </a:p>
      </dgm:t>
    </dgm:pt>
    <dgm:pt modelId="{6D153117-E330-4F75-9F53-1018A6DA33A3}" type="sibTrans" cxnId="{3147D20E-8F24-4D61-8BD3-BBDBFFD539F2}">
      <dgm:prSet/>
      <dgm:spPr/>
      <dgm:t>
        <a:bodyPr/>
        <a:lstStyle/>
        <a:p>
          <a:endParaRPr lang="de-DE"/>
        </a:p>
      </dgm:t>
    </dgm:pt>
    <dgm:pt modelId="{C0CAE838-A696-4DDE-B2CE-66101AE8E7CE}">
      <dgm:prSet phldrT="[Text]" custT="1"/>
      <dgm:spPr>
        <a:noFill/>
      </dgm:spPr>
      <dgm:t>
        <a:bodyPr/>
        <a:lstStyle/>
        <a:p>
          <a:pPr>
            <a:buSzPct val="100000"/>
            <a:buFont typeface="+mj-lt"/>
            <a:buAutoNum type="arabicPeriod"/>
          </a:pPr>
          <a:r>
            <a:rPr lang="de-DE" sz="1800" dirty="0" err="1">
              <a:solidFill>
                <a:schemeClr val="tx1"/>
              </a:solidFill>
            </a:rPr>
            <a:t>Don‘t</a:t>
          </a:r>
          <a:r>
            <a:rPr lang="de-DE" sz="1800" dirty="0">
              <a:solidFill>
                <a:schemeClr val="tx1"/>
              </a:solidFill>
            </a:rPr>
            <a:t> lose </a:t>
          </a:r>
          <a:r>
            <a:rPr lang="de-DE" sz="1800" dirty="0" err="1">
              <a:solidFill>
                <a:schemeClr val="tx1"/>
              </a:solidFill>
            </a:rPr>
            <a:t>any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agents</a:t>
          </a:r>
          <a:r>
            <a:rPr lang="de-DE" sz="1800" dirty="0">
              <a:solidFill>
                <a:schemeClr val="tx1"/>
              </a:solidFill>
            </a:rPr>
            <a:t> in </a:t>
          </a:r>
          <a:r>
            <a:rPr lang="de-DE" sz="1800" dirty="0" err="1">
              <a:solidFill>
                <a:schemeClr val="tx1"/>
              </a:solidFill>
            </a:rPr>
            <a:t>the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process</a:t>
          </a:r>
          <a:endParaRPr lang="de-DE" sz="1800" dirty="0">
            <a:solidFill>
              <a:schemeClr val="tx1"/>
            </a:solidFill>
          </a:endParaRPr>
        </a:p>
      </dgm:t>
    </dgm:pt>
    <dgm:pt modelId="{5F1165BC-C189-42A6-9379-1D285D0AF91D}" type="parTrans" cxnId="{B71B29CC-F50B-4C33-AB81-58BF65440904}">
      <dgm:prSet/>
      <dgm:spPr>
        <a:ln>
          <a:solidFill>
            <a:schemeClr val="tx1"/>
          </a:solidFill>
        </a:ln>
      </dgm:spPr>
      <dgm:t>
        <a:bodyPr/>
        <a:lstStyle/>
        <a:p>
          <a:endParaRPr lang="de-DE"/>
        </a:p>
      </dgm:t>
    </dgm:pt>
    <dgm:pt modelId="{571CC699-64A3-4DF1-B82F-C6E99B52CF54}" type="sibTrans" cxnId="{B71B29CC-F50B-4C33-AB81-58BF65440904}">
      <dgm:prSet/>
      <dgm:spPr/>
      <dgm:t>
        <a:bodyPr/>
        <a:lstStyle/>
        <a:p>
          <a:endParaRPr lang="de-DE"/>
        </a:p>
      </dgm:t>
    </dgm:pt>
    <dgm:pt modelId="{578DBCF9-8F1D-4DDA-96F0-6DE554F5D0A6}">
      <dgm:prSet phldrT="[Text]" custT="1"/>
      <dgm:spPr>
        <a:noFill/>
      </dgm:spPr>
      <dgm:t>
        <a:bodyPr/>
        <a:lstStyle/>
        <a:p>
          <a:pPr>
            <a:buSzPct val="100000"/>
            <a:buFont typeface="+mj-lt"/>
            <a:buAutoNum type="arabicPeriod"/>
          </a:pPr>
          <a:r>
            <a:rPr lang="de-DE" sz="1800" dirty="0">
              <a:solidFill>
                <a:schemeClr val="tx1"/>
              </a:solidFill>
            </a:rPr>
            <a:t>Keep </a:t>
          </a:r>
          <a:r>
            <a:rPr lang="de-DE" sz="1800" dirty="0" err="1">
              <a:solidFill>
                <a:schemeClr val="tx1"/>
              </a:solidFill>
            </a:rPr>
            <a:t>agents</a:t>
          </a:r>
          <a:r>
            <a:rPr lang="de-DE" sz="1800" dirty="0">
              <a:solidFill>
                <a:schemeClr val="tx1"/>
              </a:solidFill>
            </a:rPr>
            <a:t> and </a:t>
          </a:r>
          <a:r>
            <a:rPr lang="de-DE" sz="1800" dirty="0" err="1">
              <a:solidFill>
                <a:schemeClr val="tx1"/>
              </a:solidFill>
            </a:rPr>
            <a:t>target</a:t>
          </a:r>
          <a:r>
            <a:rPr lang="de-DE" sz="1800" dirty="0">
              <a:solidFill>
                <a:schemeClr val="tx1"/>
              </a:solidFill>
            </a:rPr>
            <a:t> in </a:t>
          </a:r>
          <a:r>
            <a:rPr lang="de-DE" sz="1800" dirty="0" err="1">
              <a:solidFill>
                <a:schemeClr val="tx1"/>
              </a:solidFill>
            </a:rPr>
            <a:t>alignment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o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maintain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line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of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sight</a:t>
          </a:r>
          <a:endParaRPr lang="de-DE" sz="1800" dirty="0">
            <a:solidFill>
              <a:schemeClr val="tx1"/>
            </a:solidFill>
          </a:endParaRPr>
        </a:p>
      </dgm:t>
    </dgm:pt>
    <dgm:pt modelId="{B34061C5-C9A2-457C-9DD5-6FA03A06D62D}" type="parTrans" cxnId="{5D038E2B-CDDE-445D-BFDD-4CAEA3B81B76}">
      <dgm:prSet/>
      <dgm:spPr>
        <a:ln>
          <a:solidFill>
            <a:schemeClr val="tx1"/>
          </a:solidFill>
        </a:ln>
      </dgm:spPr>
      <dgm:t>
        <a:bodyPr/>
        <a:lstStyle/>
        <a:p>
          <a:endParaRPr lang="de-DE"/>
        </a:p>
      </dgm:t>
    </dgm:pt>
    <dgm:pt modelId="{5C0B2448-4157-430E-9463-9FD5A0F19EC1}" type="sibTrans" cxnId="{5D038E2B-CDDE-445D-BFDD-4CAEA3B81B76}">
      <dgm:prSet/>
      <dgm:spPr/>
      <dgm:t>
        <a:bodyPr/>
        <a:lstStyle/>
        <a:p>
          <a:endParaRPr lang="de-DE"/>
        </a:p>
      </dgm:t>
    </dgm:pt>
    <dgm:pt modelId="{D8604D25-CDAC-467D-B244-2C43AECF06C8}" type="pres">
      <dgm:prSet presAssocID="{E21AD182-A6EC-4D44-BC17-2519D80664E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39F39E2B-5F17-4583-944A-3B05C87A24CB}" type="pres">
      <dgm:prSet presAssocID="{2C945879-8AD2-472F-9840-E68DD99192A1}" presName="hierRoot1" presStyleCnt="0">
        <dgm:presLayoutVars>
          <dgm:hierBranch val="init"/>
        </dgm:presLayoutVars>
      </dgm:prSet>
      <dgm:spPr/>
    </dgm:pt>
    <dgm:pt modelId="{1CFBDFCE-CEC4-4185-B1F1-D7C79C567F8F}" type="pres">
      <dgm:prSet presAssocID="{2C945879-8AD2-472F-9840-E68DD99192A1}" presName="rootComposite1" presStyleCnt="0"/>
      <dgm:spPr/>
    </dgm:pt>
    <dgm:pt modelId="{FD4C710B-AAD3-4FDE-9DB7-116B9D1C0776}" type="pres">
      <dgm:prSet presAssocID="{2C945879-8AD2-472F-9840-E68DD99192A1}" presName="rootText1" presStyleLbl="node0" presStyleIdx="0" presStyleCnt="1" custScaleY="71791" custLinFactNeighborY="-41990">
        <dgm:presLayoutVars>
          <dgm:chPref val="3"/>
        </dgm:presLayoutVars>
      </dgm:prSet>
      <dgm:spPr/>
    </dgm:pt>
    <dgm:pt modelId="{8505635A-4C5A-48C8-9EB8-D408F4450400}" type="pres">
      <dgm:prSet presAssocID="{2C945879-8AD2-472F-9840-E68DD99192A1}" presName="rootConnector1" presStyleLbl="node1" presStyleIdx="0" presStyleCnt="0"/>
      <dgm:spPr/>
    </dgm:pt>
    <dgm:pt modelId="{F0754389-6614-47AD-9338-FD90A29C897D}" type="pres">
      <dgm:prSet presAssocID="{2C945879-8AD2-472F-9840-E68DD99192A1}" presName="hierChild2" presStyleCnt="0"/>
      <dgm:spPr/>
    </dgm:pt>
    <dgm:pt modelId="{C96E89EB-24BE-4D1D-8441-A7A363D9D05C}" type="pres">
      <dgm:prSet presAssocID="{3DA96048-D8D1-40F9-8AED-B72440D8A8F8}" presName="Name37" presStyleLbl="parChTrans1D2" presStyleIdx="0" presStyleCnt="3"/>
      <dgm:spPr/>
    </dgm:pt>
    <dgm:pt modelId="{9C9B919D-3F8C-4A6E-AF74-940A578F3D6F}" type="pres">
      <dgm:prSet presAssocID="{30D90061-E841-4746-BE97-26142A473E89}" presName="hierRoot2" presStyleCnt="0">
        <dgm:presLayoutVars>
          <dgm:hierBranch val="init"/>
        </dgm:presLayoutVars>
      </dgm:prSet>
      <dgm:spPr/>
    </dgm:pt>
    <dgm:pt modelId="{D8C0D81B-4F0A-485F-858A-FDDBA51F05FF}" type="pres">
      <dgm:prSet presAssocID="{30D90061-E841-4746-BE97-26142A473E89}" presName="rootComposite" presStyleCnt="0"/>
      <dgm:spPr/>
    </dgm:pt>
    <dgm:pt modelId="{27A1F63E-023D-44DA-8371-BC00D7566CA4}" type="pres">
      <dgm:prSet presAssocID="{30D90061-E841-4746-BE97-26142A473E89}" presName="rootText" presStyleLbl="node2" presStyleIdx="0" presStyleCnt="3">
        <dgm:presLayoutVars>
          <dgm:chPref val="3"/>
        </dgm:presLayoutVars>
      </dgm:prSet>
      <dgm:spPr/>
    </dgm:pt>
    <dgm:pt modelId="{EA1BF1D8-01BA-4ACC-A610-7DEBCC60783E}" type="pres">
      <dgm:prSet presAssocID="{30D90061-E841-4746-BE97-26142A473E89}" presName="rootConnector" presStyleLbl="node2" presStyleIdx="0" presStyleCnt="3"/>
      <dgm:spPr/>
    </dgm:pt>
    <dgm:pt modelId="{2C67436C-6CB3-41D9-A670-DF14BE952D65}" type="pres">
      <dgm:prSet presAssocID="{30D90061-E841-4746-BE97-26142A473E89}" presName="hierChild4" presStyleCnt="0"/>
      <dgm:spPr/>
    </dgm:pt>
    <dgm:pt modelId="{5725FA93-177E-4536-86C8-F4F16AC31A6B}" type="pres">
      <dgm:prSet presAssocID="{30D90061-E841-4746-BE97-26142A473E89}" presName="hierChild5" presStyleCnt="0"/>
      <dgm:spPr/>
    </dgm:pt>
    <dgm:pt modelId="{260AF645-DB45-4CC8-9E97-FBC8ECF32B5D}" type="pres">
      <dgm:prSet presAssocID="{5F1165BC-C189-42A6-9379-1D285D0AF91D}" presName="Name37" presStyleLbl="parChTrans1D2" presStyleIdx="1" presStyleCnt="3"/>
      <dgm:spPr/>
    </dgm:pt>
    <dgm:pt modelId="{9B78538E-39D4-4773-A28E-DCC51F80DD2A}" type="pres">
      <dgm:prSet presAssocID="{C0CAE838-A696-4DDE-B2CE-66101AE8E7CE}" presName="hierRoot2" presStyleCnt="0">
        <dgm:presLayoutVars>
          <dgm:hierBranch val="init"/>
        </dgm:presLayoutVars>
      </dgm:prSet>
      <dgm:spPr/>
    </dgm:pt>
    <dgm:pt modelId="{0C7D22B4-4EE9-48DD-A30A-CB43F2F53E02}" type="pres">
      <dgm:prSet presAssocID="{C0CAE838-A696-4DDE-B2CE-66101AE8E7CE}" presName="rootComposite" presStyleCnt="0"/>
      <dgm:spPr/>
    </dgm:pt>
    <dgm:pt modelId="{7F886F2F-B8AD-4EFE-8619-8AEE2B3C7225}" type="pres">
      <dgm:prSet presAssocID="{C0CAE838-A696-4DDE-B2CE-66101AE8E7CE}" presName="rootText" presStyleLbl="node2" presStyleIdx="1" presStyleCnt="3">
        <dgm:presLayoutVars>
          <dgm:chPref val="3"/>
        </dgm:presLayoutVars>
      </dgm:prSet>
      <dgm:spPr/>
    </dgm:pt>
    <dgm:pt modelId="{CA59E733-8A9F-457B-803E-DEAF2B4F7EBD}" type="pres">
      <dgm:prSet presAssocID="{C0CAE838-A696-4DDE-B2CE-66101AE8E7CE}" presName="rootConnector" presStyleLbl="node2" presStyleIdx="1" presStyleCnt="3"/>
      <dgm:spPr/>
    </dgm:pt>
    <dgm:pt modelId="{6BAE4FCB-75F6-494F-903E-454AD18A4521}" type="pres">
      <dgm:prSet presAssocID="{C0CAE838-A696-4DDE-B2CE-66101AE8E7CE}" presName="hierChild4" presStyleCnt="0"/>
      <dgm:spPr/>
    </dgm:pt>
    <dgm:pt modelId="{CEB4F6AF-9927-4040-ACC5-4EB175431EDD}" type="pres">
      <dgm:prSet presAssocID="{C0CAE838-A696-4DDE-B2CE-66101AE8E7CE}" presName="hierChild5" presStyleCnt="0"/>
      <dgm:spPr/>
    </dgm:pt>
    <dgm:pt modelId="{8C95F618-3F46-40FE-AB54-ABDC68814E1C}" type="pres">
      <dgm:prSet presAssocID="{B34061C5-C9A2-457C-9DD5-6FA03A06D62D}" presName="Name37" presStyleLbl="parChTrans1D2" presStyleIdx="2" presStyleCnt="3"/>
      <dgm:spPr/>
    </dgm:pt>
    <dgm:pt modelId="{153207D0-C637-4B6B-B668-B45A57C76094}" type="pres">
      <dgm:prSet presAssocID="{578DBCF9-8F1D-4DDA-96F0-6DE554F5D0A6}" presName="hierRoot2" presStyleCnt="0">
        <dgm:presLayoutVars>
          <dgm:hierBranch val="init"/>
        </dgm:presLayoutVars>
      </dgm:prSet>
      <dgm:spPr/>
    </dgm:pt>
    <dgm:pt modelId="{CB732701-EBC6-4C1B-A138-C9D40AC8580B}" type="pres">
      <dgm:prSet presAssocID="{578DBCF9-8F1D-4DDA-96F0-6DE554F5D0A6}" presName="rootComposite" presStyleCnt="0"/>
      <dgm:spPr/>
    </dgm:pt>
    <dgm:pt modelId="{2D412D9C-3583-4EFB-A80C-9B846AC10124}" type="pres">
      <dgm:prSet presAssocID="{578DBCF9-8F1D-4DDA-96F0-6DE554F5D0A6}" presName="rootText" presStyleLbl="node2" presStyleIdx="2" presStyleCnt="3">
        <dgm:presLayoutVars>
          <dgm:chPref val="3"/>
        </dgm:presLayoutVars>
      </dgm:prSet>
      <dgm:spPr/>
    </dgm:pt>
    <dgm:pt modelId="{1C992205-05BB-486D-B816-EFD39E4C93BC}" type="pres">
      <dgm:prSet presAssocID="{578DBCF9-8F1D-4DDA-96F0-6DE554F5D0A6}" presName="rootConnector" presStyleLbl="node2" presStyleIdx="2" presStyleCnt="3"/>
      <dgm:spPr/>
    </dgm:pt>
    <dgm:pt modelId="{92DCCE64-F885-458A-9AA7-043FAB7E02E5}" type="pres">
      <dgm:prSet presAssocID="{578DBCF9-8F1D-4DDA-96F0-6DE554F5D0A6}" presName="hierChild4" presStyleCnt="0"/>
      <dgm:spPr/>
    </dgm:pt>
    <dgm:pt modelId="{D9D3CE67-B5F0-46B6-B87E-F19FF0B552B9}" type="pres">
      <dgm:prSet presAssocID="{578DBCF9-8F1D-4DDA-96F0-6DE554F5D0A6}" presName="hierChild5" presStyleCnt="0"/>
      <dgm:spPr/>
    </dgm:pt>
    <dgm:pt modelId="{81DD0AFF-C255-4892-83EE-5BAEE20BFF24}" type="pres">
      <dgm:prSet presAssocID="{2C945879-8AD2-472F-9840-E68DD99192A1}" presName="hierChild3" presStyleCnt="0"/>
      <dgm:spPr/>
    </dgm:pt>
  </dgm:ptLst>
  <dgm:cxnLst>
    <dgm:cxn modelId="{3147D20E-8F24-4D61-8BD3-BBDBFFD539F2}" srcId="{2C945879-8AD2-472F-9840-E68DD99192A1}" destId="{30D90061-E841-4746-BE97-26142A473E89}" srcOrd="0" destOrd="0" parTransId="{3DA96048-D8D1-40F9-8AED-B72440D8A8F8}" sibTransId="{6D153117-E330-4F75-9F53-1018A6DA33A3}"/>
    <dgm:cxn modelId="{5D038E2B-CDDE-445D-BFDD-4CAEA3B81B76}" srcId="{2C945879-8AD2-472F-9840-E68DD99192A1}" destId="{578DBCF9-8F1D-4DDA-96F0-6DE554F5D0A6}" srcOrd="2" destOrd="0" parTransId="{B34061C5-C9A2-457C-9DD5-6FA03A06D62D}" sibTransId="{5C0B2448-4157-430E-9463-9FD5A0F19EC1}"/>
    <dgm:cxn modelId="{E9BB0D34-AA16-44FB-8007-0E7D28FBD482}" type="presOf" srcId="{B34061C5-C9A2-457C-9DD5-6FA03A06D62D}" destId="{8C95F618-3F46-40FE-AB54-ABDC68814E1C}" srcOrd="0" destOrd="0" presId="urn:microsoft.com/office/officeart/2005/8/layout/orgChart1"/>
    <dgm:cxn modelId="{BD1DD437-4249-4EB2-B75B-A3643EDFE289}" type="presOf" srcId="{30D90061-E841-4746-BE97-26142A473E89}" destId="{27A1F63E-023D-44DA-8371-BC00D7566CA4}" srcOrd="0" destOrd="0" presId="urn:microsoft.com/office/officeart/2005/8/layout/orgChart1"/>
    <dgm:cxn modelId="{E5200360-A852-4E9D-A8DD-12F4A67E4383}" type="presOf" srcId="{2C945879-8AD2-472F-9840-E68DD99192A1}" destId="{8505635A-4C5A-48C8-9EB8-D408F4450400}" srcOrd="1" destOrd="0" presId="urn:microsoft.com/office/officeart/2005/8/layout/orgChart1"/>
    <dgm:cxn modelId="{BD79DE41-5082-4D12-ACAC-A771E299A9C0}" type="presOf" srcId="{E21AD182-A6EC-4D44-BC17-2519D80664EF}" destId="{D8604D25-CDAC-467D-B244-2C43AECF06C8}" srcOrd="0" destOrd="0" presId="urn:microsoft.com/office/officeart/2005/8/layout/orgChart1"/>
    <dgm:cxn modelId="{64FC9991-BFF4-4EBF-A46D-37214DDD7F08}" type="presOf" srcId="{578DBCF9-8F1D-4DDA-96F0-6DE554F5D0A6}" destId="{2D412D9C-3583-4EFB-A80C-9B846AC10124}" srcOrd="0" destOrd="0" presId="urn:microsoft.com/office/officeart/2005/8/layout/orgChart1"/>
    <dgm:cxn modelId="{BE9B10AE-D6E9-4ACC-B2E6-45EC68A374F0}" type="presOf" srcId="{5F1165BC-C189-42A6-9379-1D285D0AF91D}" destId="{260AF645-DB45-4CC8-9E97-FBC8ECF32B5D}" srcOrd="0" destOrd="0" presId="urn:microsoft.com/office/officeart/2005/8/layout/orgChart1"/>
    <dgm:cxn modelId="{E350EEB3-656C-4A30-BD0E-6A21C9FDC007}" type="presOf" srcId="{C0CAE838-A696-4DDE-B2CE-66101AE8E7CE}" destId="{CA59E733-8A9F-457B-803E-DEAF2B4F7EBD}" srcOrd="1" destOrd="0" presId="urn:microsoft.com/office/officeart/2005/8/layout/orgChart1"/>
    <dgm:cxn modelId="{1B6184BD-0CD4-4204-83B4-7624BBD49658}" type="presOf" srcId="{3DA96048-D8D1-40F9-8AED-B72440D8A8F8}" destId="{C96E89EB-24BE-4D1D-8441-A7A363D9D05C}" srcOrd="0" destOrd="0" presId="urn:microsoft.com/office/officeart/2005/8/layout/orgChart1"/>
    <dgm:cxn modelId="{B71B29CC-F50B-4C33-AB81-58BF65440904}" srcId="{2C945879-8AD2-472F-9840-E68DD99192A1}" destId="{C0CAE838-A696-4DDE-B2CE-66101AE8E7CE}" srcOrd="1" destOrd="0" parTransId="{5F1165BC-C189-42A6-9379-1D285D0AF91D}" sibTransId="{571CC699-64A3-4DF1-B82F-C6E99B52CF54}"/>
    <dgm:cxn modelId="{5F2481D6-3D86-4D46-803F-5E4EFC2BE32A}" type="presOf" srcId="{578DBCF9-8F1D-4DDA-96F0-6DE554F5D0A6}" destId="{1C992205-05BB-486D-B816-EFD39E4C93BC}" srcOrd="1" destOrd="0" presId="urn:microsoft.com/office/officeart/2005/8/layout/orgChart1"/>
    <dgm:cxn modelId="{052C23ED-867E-4E6C-82B1-CE5954A086B5}" type="presOf" srcId="{30D90061-E841-4746-BE97-26142A473E89}" destId="{EA1BF1D8-01BA-4ACC-A610-7DEBCC60783E}" srcOrd="1" destOrd="0" presId="urn:microsoft.com/office/officeart/2005/8/layout/orgChart1"/>
    <dgm:cxn modelId="{30DE6AF0-557A-4122-9623-70FBD1908ADB}" type="presOf" srcId="{2C945879-8AD2-472F-9840-E68DD99192A1}" destId="{FD4C710B-AAD3-4FDE-9DB7-116B9D1C0776}" srcOrd="0" destOrd="0" presId="urn:microsoft.com/office/officeart/2005/8/layout/orgChart1"/>
    <dgm:cxn modelId="{00F98DFC-783F-40A5-915F-6EE3EC0C52D3}" srcId="{E21AD182-A6EC-4D44-BC17-2519D80664EF}" destId="{2C945879-8AD2-472F-9840-E68DD99192A1}" srcOrd="0" destOrd="0" parTransId="{49FF4A1D-A73E-4F35-B566-44A782E27A43}" sibTransId="{0D411981-CEA5-475B-BB3F-69416677B132}"/>
    <dgm:cxn modelId="{32318DFF-F55F-4FEB-9030-0B3D0D0B1CEF}" type="presOf" srcId="{C0CAE838-A696-4DDE-B2CE-66101AE8E7CE}" destId="{7F886F2F-B8AD-4EFE-8619-8AEE2B3C7225}" srcOrd="0" destOrd="0" presId="urn:microsoft.com/office/officeart/2005/8/layout/orgChart1"/>
    <dgm:cxn modelId="{63AE3AF1-4081-4CAC-82C9-2FCF083DC96B}" type="presParOf" srcId="{D8604D25-CDAC-467D-B244-2C43AECF06C8}" destId="{39F39E2B-5F17-4583-944A-3B05C87A24CB}" srcOrd="0" destOrd="0" presId="urn:microsoft.com/office/officeart/2005/8/layout/orgChart1"/>
    <dgm:cxn modelId="{0089E89C-7AD1-480E-B593-6893CB1464B6}" type="presParOf" srcId="{39F39E2B-5F17-4583-944A-3B05C87A24CB}" destId="{1CFBDFCE-CEC4-4185-B1F1-D7C79C567F8F}" srcOrd="0" destOrd="0" presId="urn:microsoft.com/office/officeart/2005/8/layout/orgChart1"/>
    <dgm:cxn modelId="{831A069E-99B3-475A-A2AB-EED646C39A92}" type="presParOf" srcId="{1CFBDFCE-CEC4-4185-B1F1-D7C79C567F8F}" destId="{FD4C710B-AAD3-4FDE-9DB7-116B9D1C0776}" srcOrd="0" destOrd="0" presId="urn:microsoft.com/office/officeart/2005/8/layout/orgChart1"/>
    <dgm:cxn modelId="{C9482331-EF9F-4200-9FAD-56C1A4D6FBD8}" type="presParOf" srcId="{1CFBDFCE-CEC4-4185-B1F1-D7C79C567F8F}" destId="{8505635A-4C5A-48C8-9EB8-D408F4450400}" srcOrd="1" destOrd="0" presId="urn:microsoft.com/office/officeart/2005/8/layout/orgChart1"/>
    <dgm:cxn modelId="{C1B7EDD3-559D-4734-B25B-18C97D7B2224}" type="presParOf" srcId="{39F39E2B-5F17-4583-944A-3B05C87A24CB}" destId="{F0754389-6614-47AD-9338-FD90A29C897D}" srcOrd="1" destOrd="0" presId="urn:microsoft.com/office/officeart/2005/8/layout/orgChart1"/>
    <dgm:cxn modelId="{E672E46A-6CAC-4C91-B210-0B39A9F3782A}" type="presParOf" srcId="{F0754389-6614-47AD-9338-FD90A29C897D}" destId="{C96E89EB-24BE-4D1D-8441-A7A363D9D05C}" srcOrd="0" destOrd="0" presId="urn:microsoft.com/office/officeart/2005/8/layout/orgChart1"/>
    <dgm:cxn modelId="{B7061FAF-DB86-4454-9168-A90EF5FB3D99}" type="presParOf" srcId="{F0754389-6614-47AD-9338-FD90A29C897D}" destId="{9C9B919D-3F8C-4A6E-AF74-940A578F3D6F}" srcOrd="1" destOrd="0" presId="urn:microsoft.com/office/officeart/2005/8/layout/orgChart1"/>
    <dgm:cxn modelId="{4EFE61D3-31CC-41FC-ABA7-060A606EBD5B}" type="presParOf" srcId="{9C9B919D-3F8C-4A6E-AF74-940A578F3D6F}" destId="{D8C0D81B-4F0A-485F-858A-FDDBA51F05FF}" srcOrd="0" destOrd="0" presId="urn:microsoft.com/office/officeart/2005/8/layout/orgChart1"/>
    <dgm:cxn modelId="{AFD390DC-E920-4B25-A259-F6EDCAB11785}" type="presParOf" srcId="{D8C0D81B-4F0A-485F-858A-FDDBA51F05FF}" destId="{27A1F63E-023D-44DA-8371-BC00D7566CA4}" srcOrd="0" destOrd="0" presId="urn:microsoft.com/office/officeart/2005/8/layout/orgChart1"/>
    <dgm:cxn modelId="{6DE6F07A-66AF-42B1-8404-CA2FE7CDAFA8}" type="presParOf" srcId="{D8C0D81B-4F0A-485F-858A-FDDBA51F05FF}" destId="{EA1BF1D8-01BA-4ACC-A610-7DEBCC60783E}" srcOrd="1" destOrd="0" presId="urn:microsoft.com/office/officeart/2005/8/layout/orgChart1"/>
    <dgm:cxn modelId="{3F3CB089-7C28-494C-8E5C-8368B8E5CA98}" type="presParOf" srcId="{9C9B919D-3F8C-4A6E-AF74-940A578F3D6F}" destId="{2C67436C-6CB3-41D9-A670-DF14BE952D65}" srcOrd="1" destOrd="0" presId="urn:microsoft.com/office/officeart/2005/8/layout/orgChart1"/>
    <dgm:cxn modelId="{D77C6B06-A215-4624-80F6-CE784F050F63}" type="presParOf" srcId="{9C9B919D-3F8C-4A6E-AF74-940A578F3D6F}" destId="{5725FA93-177E-4536-86C8-F4F16AC31A6B}" srcOrd="2" destOrd="0" presId="urn:microsoft.com/office/officeart/2005/8/layout/orgChart1"/>
    <dgm:cxn modelId="{93AB06F4-2B0E-4A62-BA31-EFA1A0AE9754}" type="presParOf" srcId="{F0754389-6614-47AD-9338-FD90A29C897D}" destId="{260AF645-DB45-4CC8-9E97-FBC8ECF32B5D}" srcOrd="2" destOrd="0" presId="urn:microsoft.com/office/officeart/2005/8/layout/orgChart1"/>
    <dgm:cxn modelId="{33792486-3892-4B48-A237-EA6C605FE2B7}" type="presParOf" srcId="{F0754389-6614-47AD-9338-FD90A29C897D}" destId="{9B78538E-39D4-4773-A28E-DCC51F80DD2A}" srcOrd="3" destOrd="0" presId="urn:microsoft.com/office/officeart/2005/8/layout/orgChart1"/>
    <dgm:cxn modelId="{DFD31623-9E2F-49CC-BFD3-A6F7CC4BBC3C}" type="presParOf" srcId="{9B78538E-39D4-4773-A28E-DCC51F80DD2A}" destId="{0C7D22B4-4EE9-48DD-A30A-CB43F2F53E02}" srcOrd="0" destOrd="0" presId="urn:microsoft.com/office/officeart/2005/8/layout/orgChart1"/>
    <dgm:cxn modelId="{90EB3850-C193-40AB-8CC7-ECA7E11CAEF9}" type="presParOf" srcId="{0C7D22B4-4EE9-48DD-A30A-CB43F2F53E02}" destId="{7F886F2F-B8AD-4EFE-8619-8AEE2B3C7225}" srcOrd="0" destOrd="0" presId="urn:microsoft.com/office/officeart/2005/8/layout/orgChart1"/>
    <dgm:cxn modelId="{D385BBEF-020A-4BF9-AACF-5E3B1736CD0A}" type="presParOf" srcId="{0C7D22B4-4EE9-48DD-A30A-CB43F2F53E02}" destId="{CA59E733-8A9F-457B-803E-DEAF2B4F7EBD}" srcOrd="1" destOrd="0" presId="urn:microsoft.com/office/officeart/2005/8/layout/orgChart1"/>
    <dgm:cxn modelId="{BCD23F7C-9489-4EC4-ACAA-4C847312F6F8}" type="presParOf" srcId="{9B78538E-39D4-4773-A28E-DCC51F80DD2A}" destId="{6BAE4FCB-75F6-494F-903E-454AD18A4521}" srcOrd="1" destOrd="0" presId="urn:microsoft.com/office/officeart/2005/8/layout/orgChart1"/>
    <dgm:cxn modelId="{7A73B544-1978-4DC0-AFC8-0BAEF2E0DF13}" type="presParOf" srcId="{9B78538E-39D4-4773-A28E-DCC51F80DD2A}" destId="{CEB4F6AF-9927-4040-ACC5-4EB175431EDD}" srcOrd="2" destOrd="0" presId="urn:microsoft.com/office/officeart/2005/8/layout/orgChart1"/>
    <dgm:cxn modelId="{03B58060-0FA6-44AD-887E-F5AE929AD89E}" type="presParOf" srcId="{F0754389-6614-47AD-9338-FD90A29C897D}" destId="{8C95F618-3F46-40FE-AB54-ABDC68814E1C}" srcOrd="4" destOrd="0" presId="urn:microsoft.com/office/officeart/2005/8/layout/orgChart1"/>
    <dgm:cxn modelId="{742D444E-E54C-417B-8492-813EF984BC12}" type="presParOf" srcId="{F0754389-6614-47AD-9338-FD90A29C897D}" destId="{153207D0-C637-4B6B-B668-B45A57C76094}" srcOrd="5" destOrd="0" presId="urn:microsoft.com/office/officeart/2005/8/layout/orgChart1"/>
    <dgm:cxn modelId="{003BF6F7-EBF0-442A-8276-A3AE6CD40A79}" type="presParOf" srcId="{153207D0-C637-4B6B-B668-B45A57C76094}" destId="{CB732701-EBC6-4C1B-A138-C9D40AC8580B}" srcOrd="0" destOrd="0" presId="urn:microsoft.com/office/officeart/2005/8/layout/orgChart1"/>
    <dgm:cxn modelId="{9BD02949-2CA8-4B47-A554-8CA84316B3C6}" type="presParOf" srcId="{CB732701-EBC6-4C1B-A138-C9D40AC8580B}" destId="{2D412D9C-3583-4EFB-A80C-9B846AC10124}" srcOrd="0" destOrd="0" presId="urn:microsoft.com/office/officeart/2005/8/layout/orgChart1"/>
    <dgm:cxn modelId="{32E0CDB6-1295-4BA8-BC20-6E8CA7D1FC68}" type="presParOf" srcId="{CB732701-EBC6-4C1B-A138-C9D40AC8580B}" destId="{1C992205-05BB-486D-B816-EFD39E4C93BC}" srcOrd="1" destOrd="0" presId="urn:microsoft.com/office/officeart/2005/8/layout/orgChart1"/>
    <dgm:cxn modelId="{A197BB65-8AF0-45DB-B397-6D19B098F3E4}" type="presParOf" srcId="{153207D0-C637-4B6B-B668-B45A57C76094}" destId="{92DCCE64-F885-458A-9AA7-043FAB7E02E5}" srcOrd="1" destOrd="0" presId="urn:microsoft.com/office/officeart/2005/8/layout/orgChart1"/>
    <dgm:cxn modelId="{6A188787-3182-4589-917C-3EF6F9C5D785}" type="presParOf" srcId="{153207D0-C637-4B6B-B668-B45A57C76094}" destId="{D9D3CE67-B5F0-46B6-B87E-F19FF0B552B9}" srcOrd="2" destOrd="0" presId="urn:microsoft.com/office/officeart/2005/8/layout/orgChart1"/>
    <dgm:cxn modelId="{DFDE18FC-6164-4A79-8B79-9FDF7C006A90}" type="presParOf" srcId="{39F39E2B-5F17-4583-944A-3B05C87A24CB}" destId="{81DD0AFF-C255-4892-83EE-5BAEE20BFF24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95F618-3F46-40FE-AB54-ABDC68814E1C}">
      <dsp:nvSpPr>
        <dsp:cNvPr id="0" name=""/>
        <dsp:cNvSpPr/>
      </dsp:nvSpPr>
      <dsp:spPr>
        <a:xfrm>
          <a:off x="3078998" y="784150"/>
          <a:ext cx="2178413" cy="7560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67017"/>
              </a:lnTo>
              <a:lnTo>
                <a:pt x="2178413" y="567017"/>
              </a:lnTo>
              <a:lnTo>
                <a:pt x="2178413" y="756053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0AF645-DB45-4CC8-9E97-FBC8ECF32B5D}">
      <dsp:nvSpPr>
        <dsp:cNvPr id="0" name=""/>
        <dsp:cNvSpPr/>
      </dsp:nvSpPr>
      <dsp:spPr>
        <a:xfrm>
          <a:off x="3033278" y="784150"/>
          <a:ext cx="91440" cy="75605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756053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96E89EB-24BE-4D1D-8441-A7A363D9D05C}">
      <dsp:nvSpPr>
        <dsp:cNvPr id="0" name=""/>
        <dsp:cNvSpPr/>
      </dsp:nvSpPr>
      <dsp:spPr>
        <a:xfrm>
          <a:off x="900584" y="784150"/>
          <a:ext cx="2178413" cy="756053"/>
        </a:xfrm>
        <a:custGeom>
          <a:avLst/>
          <a:gdLst/>
          <a:ahLst/>
          <a:cxnLst/>
          <a:rect l="0" t="0" r="0" b="0"/>
          <a:pathLst>
            <a:path>
              <a:moveTo>
                <a:pt x="2178413" y="0"/>
              </a:moveTo>
              <a:lnTo>
                <a:pt x="2178413" y="567017"/>
              </a:lnTo>
              <a:lnTo>
                <a:pt x="0" y="567017"/>
              </a:lnTo>
              <a:lnTo>
                <a:pt x="0" y="756053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4C710B-AAD3-4FDE-9DB7-116B9D1C0776}">
      <dsp:nvSpPr>
        <dsp:cNvPr id="0" name=""/>
        <dsp:cNvSpPr/>
      </dsp:nvSpPr>
      <dsp:spPr>
        <a:xfrm>
          <a:off x="2178827" y="137909"/>
          <a:ext cx="1800341" cy="646241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Arial"/>
            <a:buNone/>
          </a:pPr>
          <a:r>
            <a:rPr lang="de-DE" sz="1800" kern="1200" dirty="0">
              <a:solidFill>
                <a:schemeClr val="tx1"/>
              </a:solidFill>
            </a:rPr>
            <a:t>Transport </a:t>
          </a:r>
          <a:r>
            <a:rPr lang="de-DE" sz="1800" kern="1200" dirty="0" err="1">
              <a:solidFill>
                <a:schemeClr val="tx1"/>
              </a:solidFill>
            </a:rPr>
            <a:t>entire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herd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o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arget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position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2178827" y="137909"/>
        <a:ext cx="1800341" cy="646241"/>
      </dsp:txXfrm>
    </dsp:sp>
    <dsp:sp modelId="{27A1F63E-023D-44DA-8371-BC00D7566CA4}">
      <dsp:nvSpPr>
        <dsp:cNvPr id="0" name=""/>
        <dsp:cNvSpPr/>
      </dsp:nvSpPr>
      <dsp:spPr>
        <a:xfrm>
          <a:off x="413" y="1540204"/>
          <a:ext cx="1800341" cy="900170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+mj-lt"/>
            <a:buNone/>
          </a:pPr>
          <a:r>
            <a:rPr lang="de-DE" sz="1800" kern="1200" dirty="0">
              <a:solidFill>
                <a:schemeClr val="tx1"/>
              </a:solidFill>
            </a:rPr>
            <a:t>Move </a:t>
          </a:r>
          <a:r>
            <a:rPr lang="de-DE" sz="1800" kern="1200" dirty="0" err="1">
              <a:solidFill>
                <a:schemeClr val="tx1"/>
              </a:solidFill>
            </a:rPr>
            <a:t>herd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o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arget</a:t>
          </a:r>
          <a:r>
            <a:rPr lang="de-DE" sz="1800" kern="1200" dirty="0">
              <a:solidFill>
                <a:schemeClr val="tx1"/>
              </a:solidFill>
            </a:rPr>
            <a:t> </a:t>
          </a:r>
        </a:p>
      </dsp:txBody>
      <dsp:txXfrm>
        <a:off x="413" y="1540204"/>
        <a:ext cx="1800341" cy="900170"/>
      </dsp:txXfrm>
    </dsp:sp>
    <dsp:sp modelId="{7F886F2F-B8AD-4EFE-8619-8AEE2B3C7225}">
      <dsp:nvSpPr>
        <dsp:cNvPr id="0" name=""/>
        <dsp:cNvSpPr/>
      </dsp:nvSpPr>
      <dsp:spPr>
        <a:xfrm>
          <a:off x="2178827" y="1540204"/>
          <a:ext cx="1800341" cy="900170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+mj-lt"/>
            <a:buNone/>
          </a:pPr>
          <a:r>
            <a:rPr lang="de-DE" sz="1800" kern="1200" dirty="0" err="1">
              <a:solidFill>
                <a:schemeClr val="tx1"/>
              </a:solidFill>
            </a:rPr>
            <a:t>Don‘t</a:t>
          </a:r>
          <a:r>
            <a:rPr lang="de-DE" sz="1800" kern="1200" dirty="0">
              <a:solidFill>
                <a:schemeClr val="tx1"/>
              </a:solidFill>
            </a:rPr>
            <a:t> lose </a:t>
          </a:r>
          <a:r>
            <a:rPr lang="de-DE" sz="1800" kern="1200" dirty="0" err="1">
              <a:solidFill>
                <a:schemeClr val="tx1"/>
              </a:solidFill>
            </a:rPr>
            <a:t>any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agents</a:t>
          </a:r>
          <a:r>
            <a:rPr lang="de-DE" sz="1800" kern="1200" dirty="0">
              <a:solidFill>
                <a:schemeClr val="tx1"/>
              </a:solidFill>
            </a:rPr>
            <a:t> in </a:t>
          </a:r>
          <a:r>
            <a:rPr lang="de-DE" sz="1800" kern="1200" dirty="0" err="1">
              <a:solidFill>
                <a:schemeClr val="tx1"/>
              </a:solidFill>
            </a:rPr>
            <a:t>the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process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2178827" y="1540204"/>
        <a:ext cx="1800341" cy="900170"/>
      </dsp:txXfrm>
    </dsp:sp>
    <dsp:sp modelId="{2D412D9C-3583-4EFB-A80C-9B846AC10124}">
      <dsp:nvSpPr>
        <dsp:cNvPr id="0" name=""/>
        <dsp:cNvSpPr/>
      </dsp:nvSpPr>
      <dsp:spPr>
        <a:xfrm>
          <a:off x="4357240" y="1540204"/>
          <a:ext cx="1800341" cy="900170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+mj-lt"/>
            <a:buNone/>
          </a:pPr>
          <a:r>
            <a:rPr lang="de-DE" sz="1800" kern="1200" dirty="0">
              <a:solidFill>
                <a:schemeClr val="tx1"/>
              </a:solidFill>
            </a:rPr>
            <a:t>Keep </a:t>
          </a:r>
          <a:r>
            <a:rPr lang="de-DE" sz="1800" kern="1200" dirty="0" err="1">
              <a:solidFill>
                <a:schemeClr val="tx1"/>
              </a:solidFill>
            </a:rPr>
            <a:t>agents</a:t>
          </a:r>
          <a:r>
            <a:rPr lang="de-DE" sz="1800" kern="1200" dirty="0">
              <a:solidFill>
                <a:schemeClr val="tx1"/>
              </a:solidFill>
            </a:rPr>
            <a:t> and </a:t>
          </a:r>
          <a:r>
            <a:rPr lang="de-DE" sz="1800" kern="1200" dirty="0" err="1">
              <a:solidFill>
                <a:schemeClr val="tx1"/>
              </a:solidFill>
            </a:rPr>
            <a:t>target</a:t>
          </a:r>
          <a:r>
            <a:rPr lang="de-DE" sz="1800" kern="1200" dirty="0">
              <a:solidFill>
                <a:schemeClr val="tx1"/>
              </a:solidFill>
            </a:rPr>
            <a:t> in </a:t>
          </a:r>
          <a:r>
            <a:rPr lang="de-DE" sz="1800" kern="1200" dirty="0" err="1">
              <a:solidFill>
                <a:schemeClr val="tx1"/>
              </a:solidFill>
            </a:rPr>
            <a:t>alignment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o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maintain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line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of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sight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4357240" y="1540204"/>
        <a:ext cx="1800341" cy="90017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7CE915-6559-44BB-855F-9CAD86852803}" type="datetimeFigureOut">
              <a:rPr lang="de-DE" smtClean="0"/>
              <a:t>06.0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F2FCE0-2DEB-499F-9498-5F87D9D6AF9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25070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F2FCE0-2DEB-499F-9498-5F87D9D6AF9A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76308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92838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47745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96847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49477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21051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80414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67753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81161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45382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41111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36363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55817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0231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3076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45217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34322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EE5B0C-9779-4EA3-2997-5C15B656F2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4F5C2D6-67ED-1C11-A8A9-FDFFDB393F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386EE5-3B73-B613-3E97-E57313F795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6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0448399-3037-2899-8136-06912B21E9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DE5D70-5395-5E1C-71F0-F33C647EC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36125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178209-A427-4CC9-737A-505FF4C0D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485EDD10-CF3C-D121-3B1B-B64E4772C9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F049968-48A5-3C87-6EEF-1C7C56F2D8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6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D8B0FF-0523-7B48-2417-DB58144994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CDC593A-93DF-4721-2D62-07DA5320C3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31321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C666260B-3A69-5DBC-C634-F78D3CDA7C2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84D127B-8B72-7B9C-4FFB-C757B2FBD3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07F92BD-DD10-22A6-EC8E-D95A66E741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6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3DCA1B4-EBB0-BDFB-4285-940D9D185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5ACEEB-45E7-58CA-FBD4-9D56995F72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15707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927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D35CEE80-9913-49B6-AD2D-CD6015DCEA1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6BB5887F-93D5-475B-917E-FCC7B89F3723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2" name="Title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50704520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5848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AA5D9D6B-8AE5-40BD-B06B-DB5F7F3841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694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E87F14BC-2A89-442C-A2A4-F8C495F64EDE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MIO_AGENDA_IGNORE_CHAPTER_REFERENCE" hidden="1">
            <a:extLst>
              <a:ext uri="{FF2B5EF4-FFF2-40B4-BE49-F238E27FC236}">
                <a16:creationId xmlns:a16="http://schemas.microsoft.com/office/drawing/2014/main" id="{47AE036B-D905-4E75-9AA0-BBD4F9B323D9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3" name="Title">
            <a:extLst>
              <a:ext uri="{FF2B5EF4-FFF2-40B4-BE49-F238E27FC236}">
                <a16:creationId xmlns:a16="http://schemas.microsoft.com/office/drawing/2014/main" id="{647FBB06-57A1-478F-8BCE-57D05265516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59772518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8" name="Text Placeholder">
            <a:extLst>
              <a:ext uri="{FF2B5EF4-FFF2-40B4-BE49-F238E27FC236}">
                <a16:creationId xmlns:a16="http://schemas.microsoft.com/office/drawing/2014/main" id="{7843742C-26CB-411F-8564-5030924198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4224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A7C729B7-24CD-4887-BCB2-9B9E69736AA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0" name="MIO_AGENDA_IGNORE_NAVIGATION" hidden="1">
            <a:extLst>
              <a:ext uri="{FF2B5EF4-FFF2-40B4-BE49-F238E27FC236}">
                <a16:creationId xmlns:a16="http://schemas.microsoft.com/office/drawing/2014/main" id="{21E6B44B-2911-4D90-ADF1-345D287BEC40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1" name="MIO_AGENDA_IGNORE_CHAPTER_REFERENCE" hidden="1">
            <a:extLst>
              <a:ext uri="{FF2B5EF4-FFF2-40B4-BE49-F238E27FC236}">
                <a16:creationId xmlns:a16="http://schemas.microsoft.com/office/drawing/2014/main" id="{D22541A4-6CCB-49E3-87E5-CEF66BC7C1D8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464146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ith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701E527-3634-4BA5-A1E4-620B019CC35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4" name="Text Placeholder">
            <a:extLst>
              <a:ext uri="{FF2B5EF4-FFF2-40B4-BE49-F238E27FC236}">
                <a16:creationId xmlns:a16="http://schemas.microsoft.com/office/drawing/2014/main" id="{E65ED79E-D6FD-4D90-9073-C8776CB6AD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9970BE9A-08D6-4159-A7B6-88479C7815D6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" name="MIO_AGENDA_IGNORE_CHAPTER_REFERENCE" hidden="1">
            <a:extLst>
              <a:ext uri="{FF2B5EF4-FFF2-40B4-BE49-F238E27FC236}">
                <a16:creationId xmlns:a16="http://schemas.microsoft.com/office/drawing/2014/main" id="{470398AC-9E3C-4202-BC74-310D36FEDC82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1" name="Title">
            <a:extLst>
              <a:ext uri="{FF2B5EF4-FFF2-40B4-BE49-F238E27FC236}">
                <a16:creationId xmlns:a16="http://schemas.microsoft.com/office/drawing/2014/main" id="{70F15D73-40F4-4F95-9E2A-7A67F615DB4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7482692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4001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1532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MIO_AGENDA_IGNORE_NAVIGATION" hidden="1">
            <a:extLst>
              <a:ext uri="{FF2B5EF4-FFF2-40B4-BE49-F238E27FC236}">
                <a16:creationId xmlns:a16="http://schemas.microsoft.com/office/drawing/2014/main" id="{A2163211-8843-4B3A-A173-4CC8DE6FF39B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MIO_AGENDA_IGNORE_CHAPTER_REFERENCE" hidden="1">
            <a:extLst>
              <a:ext uri="{FF2B5EF4-FFF2-40B4-BE49-F238E27FC236}">
                <a16:creationId xmlns:a16="http://schemas.microsoft.com/office/drawing/2014/main" id="{8F02921B-CECB-4A04-AB2B-50AE546A3B6D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78625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9901" y="1726936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B33AFD28-F06F-4496-B660-E40557BF44B7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IGNORE_CHAPTER_REFERENCE" hidden="1">
            <a:extLst>
              <a:ext uri="{FF2B5EF4-FFF2-40B4-BE49-F238E27FC236}">
                <a16:creationId xmlns:a16="http://schemas.microsoft.com/office/drawing/2014/main" id="{9233F6B7-3A6D-4D1B-A7FB-196EDC508EEF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882A5C28-0BF5-4D8F-94C9-8EE9CE72457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8F3C3DFA-9FB3-46AB-BDF5-39E1DC27293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F6FC1D4-487D-4C1C-A92F-A0C6E30EA16B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22311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9901" y="1728217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8361DA31-7C99-49AA-A40D-CC798429750C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D1BC51F7-D24C-4262-85CD-7EFD0E8E4885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7D770CEC-7A1C-4675-B9F6-4684B6BC5EE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32612B95-CBCE-43BD-ACD5-F7E8E28AD6C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0997DD9-C2E6-4412-906F-CEA396FE065F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27421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1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0837ED46-4108-4499-BE40-E17599CFD675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BD69D7E4-8FB7-4417-A428-3FC842962DF0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EE7151CE-534A-4DA8-B077-606246FFE4A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9F6D2D6D-4A12-45B7-A359-4B35E6BD19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5B17B4-6589-41B3-A983-093BB26C9BCC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15941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CFDE8B-36AF-80BC-EE2E-16ABEAFEB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C0A5153-9BC8-92BC-DD6F-90BBD26870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1B7A74-789B-A92F-37EA-09C1A720D9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6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026930-3817-1CC2-5009-54A09AA6FF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6892714-E6C2-1E8F-51E7-1A5915CD26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60145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2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9FC4547F-C195-4067-8008-B68776595B5D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12EACD47-41DE-4CD2-A21A-14DBE7C985AF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6354E020-0B8B-4490-8FBE-69D3AA2C5D8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1775EE3B-1424-455C-B471-9011952BEC3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8004DD8-5CCD-47AF-881E-102D039801F2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78766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27CF3F4C-5874-4930-8527-36305B15F57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BBDF0290-19AC-4946-8A62-805CF2CCDC9C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CaseCode">
            <a:extLst>
              <a:ext uri="{FF2B5EF4-FFF2-40B4-BE49-F238E27FC236}">
                <a16:creationId xmlns:a16="http://schemas.microsoft.com/office/drawing/2014/main" id="{A5F15993-9A11-497E-9B56-FBC6CFC14D8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9688FFC8-7352-479D-AA3C-FD6DC60CED1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829B2D-FBA8-486E-BA8A-D44EBE6D7A73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66706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green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7" y="1714500"/>
            <a:ext cx="9323916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CAC30FC8-4769-493E-8A50-EE686BE7D3B5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A86122FE-538F-4A32-A4D5-095A77004C94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8543C88E-E176-4291-8A87-994374277F5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2A178BA9-7781-4CBD-AA26-059841B96E1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DB4A35-A981-4070-976E-FF0B78FCCF1C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0026304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Green Acc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8AC01345-8637-49F7-B27A-1F3623D0EA4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1537F287-C3D9-41AB-A895-877ED68E01DE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3937E4FF-E016-44F3-AD4A-BD40518CEBF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70F3F35D-F2C2-4AB4-B366-EEC863736AF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4DB589F-A6FF-45A0-9279-59580FC81C96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558830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8A2ACF0E-68DE-4019-9B26-9765BBDE1FC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8170BC7A-230F-4CFF-B510-7C11B6B6B394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11B7F5CA-811D-4AE2-962B-BF8A99E307A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7EB031C3-69E1-4133-9550-E7CB21DD10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089A2F-E1F6-41D3-964D-CBD86C232A5E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520796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BE26B797-9949-48A3-976D-A898E3C18E4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14E60C47-69F3-4ABA-80FD-E5DF82E7BA19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09112F48-72C6-45E5-A1E0-1581DF24E17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A22A7399-BED7-4421-B384-26835214549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BAD39A-8E4D-4CED-BFA6-6A113684235A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074466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75488" y="1719072"/>
            <a:ext cx="9328912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7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7583F471-57B6-4DAA-89A7-6E0D0C078BFC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MIO_AGENDA_IGNORE_CHAPTER_REFERENCE" hidden="1">
            <a:extLst>
              <a:ext uri="{FF2B5EF4-FFF2-40B4-BE49-F238E27FC236}">
                <a16:creationId xmlns:a16="http://schemas.microsoft.com/office/drawing/2014/main" id="{D1E299B4-0A88-451E-904B-278ECCE2D8C1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4486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/>
          <p:cNvSpPr>
            <a:spLocks noGrp="1"/>
          </p:cNvSpPr>
          <p:nvPr>
            <p:ph idx="1"/>
          </p:nvPr>
        </p:nvSpPr>
        <p:spPr>
          <a:xfrm>
            <a:off x="463296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2776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17947515"/>
      </p:ext>
    </p:extLst>
  </p:cSld>
  <p:clrMapOvr>
    <a:masterClrMapping/>
  </p:clrMapOvr>
  <p:transition>
    <p:fade/>
  </p:transition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4706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504706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504706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504706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  <a:lvl6pPr>
              <a:tabLst>
                <a:tab pos="5047060" algn="r"/>
              </a:tabLst>
              <a:defRPr/>
            </a:lvl6pPr>
            <a:lvl7pPr>
              <a:tabLst>
                <a:tab pos="5047060" algn="r"/>
              </a:tabLst>
              <a:defRPr/>
            </a:lvl7pPr>
            <a:lvl8pPr>
              <a:tabLst>
                <a:tab pos="5047060" algn="r"/>
              </a:tabLst>
              <a:defRPr/>
            </a:lvl8pPr>
            <a:lvl9pPr>
              <a:tabLst>
                <a:tab pos="5047060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97217509"/>
      </p:ext>
    </p:extLst>
  </p:cSld>
  <p:clrMapOvr>
    <a:masterClrMapping/>
  </p:clrMapOvr>
  <p:transition>
    <p:fade/>
  </p:transition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upper right"/>
          <p:cNvSpPr>
            <a:spLocks noGrp="1"/>
          </p:cNvSpPr>
          <p:nvPr>
            <p:ph type="body" sz="quarter" idx="10"/>
          </p:nvPr>
        </p:nvSpPr>
        <p:spPr>
          <a:xfrm>
            <a:off x="8933144" y="345584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39"/>
              </a:spcBef>
              <a:defRPr sz="800">
                <a:solidFill>
                  <a:schemeClr val="tx1"/>
                </a:solidFill>
              </a:defRPr>
            </a:lvl1pPr>
            <a:lvl2pPr>
              <a:defRPr sz="727">
                <a:solidFill>
                  <a:schemeClr val="tx2"/>
                </a:solidFill>
              </a:defRPr>
            </a:lvl2pPr>
            <a:lvl3pPr>
              <a:defRPr sz="727">
                <a:solidFill>
                  <a:schemeClr val="tx2"/>
                </a:solidFill>
              </a:defRPr>
            </a:lvl3pPr>
            <a:lvl4pPr>
              <a:defRPr sz="692">
                <a:solidFill>
                  <a:schemeClr val="tx2"/>
                </a:solidFill>
              </a:defRPr>
            </a:lvl4pPr>
            <a:lvl5pPr>
              <a:defRPr sz="692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left"/>
          <p:cNvSpPr>
            <a:spLocks noGrp="1"/>
          </p:cNvSpPr>
          <p:nvPr>
            <p:ph type="body" sz="quarter" idx="11"/>
          </p:nvPr>
        </p:nvSpPr>
        <p:spPr>
          <a:xfrm>
            <a:off x="463296" y="1714500"/>
            <a:ext cx="3549904" cy="46482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16"/>
              </a:spcAft>
              <a:defRPr sz="1200"/>
            </a:lvl1pPr>
            <a:lvl2pPr>
              <a:spcBef>
                <a:spcPts val="208"/>
              </a:spcBef>
              <a:defRPr/>
            </a:lvl2pPr>
            <a:lvl3pPr>
              <a:spcBef>
                <a:spcPts val="208"/>
              </a:spcBef>
              <a:defRPr/>
            </a:lvl3pPr>
            <a:lvl4pPr>
              <a:spcBef>
                <a:spcPts val="208"/>
              </a:spcBef>
              <a:defRPr/>
            </a:lvl4pPr>
            <a:lvl5pPr>
              <a:spcBef>
                <a:spcPts val="208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right"/>
          <p:cNvSpPr>
            <a:spLocks noGrp="1"/>
          </p:cNvSpPr>
          <p:nvPr>
            <p:ph type="body" sz="quarter" idx="12"/>
          </p:nvPr>
        </p:nvSpPr>
        <p:spPr>
          <a:xfrm>
            <a:off x="4318000" y="1719073"/>
            <a:ext cx="7416801" cy="4643628"/>
          </a:xfrm>
        </p:spPr>
        <p:txBody>
          <a:bodyPr>
            <a:noAutofit/>
          </a:bodyPr>
          <a:lstStyle>
            <a:lvl1pPr marL="0" indent="0" algn="l">
              <a:spcBef>
                <a:spcPts val="1247"/>
              </a:spcBef>
              <a:buFontTx/>
              <a:buNone/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339E1B40-A4E1-44DD-A0AE-DAB851381F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199848"/>
      </p:ext>
    </p:extLst>
  </p:cSld>
  <p:clrMapOvr>
    <a:masterClrMapping/>
  </p:clrMapOvr>
  <p:transition>
    <p:fade/>
  </p:transition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E9423C-595F-B7DE-8BD0-F92B87FE4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051EDCA-9C1F-36C3-3ACA-3A4E2F53C2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FEF7775-98F4-057D-74CB-B3CBA47FF9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6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F4A4C4-B0C2-B11E-4907-6622CA82DA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765CEC1-FCE5-5AD4-C5CD-E742B20722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6423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463295" y="347472"/>
            <a:ext cx="11228832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"/>
          <p:cNvSpPr>
            <a:spLocks noGrp="1"/>
          </p:cNvSpPr>
          <p:nvPr>
            <p:ph type="pic" sz="quarter" idx="15"/>
          </p:nvPr>
        </p:nvSpPr>
        <p:spPr>
          <a:xfrm>
            <a:off x="5450351" y="1714500"/>
            <a:ext cx="6240000" cy="46482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08980469"/>
      </p:ext>
    </p:extLst>
  </p:cSld>
  <p:clrMapOvr>
    <a:masterClrMapping/>
  </p:clrMapOvr>
  <p:transition>
    <p:fade/>
  </p:transition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left"/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right"/>
          <p:cNvSpPr>
            <a:spLocks noGrp="1"/>
          </p:cNvSpPr>
          <p:nvPr>
            <p:ph sz="quarter" idx="20"/>
          </p:nvPr>
        </p:nvSpPr>
        <p:spPr>
          <a:xfrm>
            <a:off x="6248404" y="1719072"/>
            <a:ext cx="5486397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8437786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9A021DD-F549-41C3-B366-CFCBDD8599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ECC1F342-3C5A-4884-B063-1F96DE727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FED540D-3BF1-4047-9D69-9C3EB9B9455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2159D59-FAF6-4904-B82D-440C56566D8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60591" y="1714500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8596431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1" y="685801"/>
            <a:ext cx="11277599" cy="10276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3296" y="2078281"/>
            <a:ext cx="11271504" cy="404273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50300"/>
            <a:ext cx="11265412" cy="335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Chart Title / Headline"/>
          <p:cNvSpPr>
            <a:spLocks noGrp="1"/>
          </p:cNvSpPr>
          <p:nvPr>
            <p:ph type="body" sz="quarter" idx="18"/>
          </p:nvPr>
        </p:nvSpPr>
        <p:spPr>
          <a:xfrm>
            <a:off x="463296" y="1717263"/>
            <a:ext cx="11271504" cy="357187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 bottom">
            <a:extLst>
              <a:ext uri="{FF2B5EF4-FFF2-40B4-BE49-F238E27FC236}">
                <a16:creationId xmlns:a16="http://schemas.microsoft.com/office/drawing/2014/main" id="{4B6E095B-6E26-41E6-AFC8-FF16F0C3C86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4368353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"/>
          <p:cNvSpPr>
            <a:spLocks noGrp="1"/>
          </p:cNvSpPr>
          <p:nvPr>
            <p:ph type="chart" sz="quarter" idx="21"/>
          </p:nvPr>
        </p:nvSpPr>
        <p:spPr>
          <a:xfrm>
            <a:off x="6256871" y="2137713"/>
            <a:ext cx="5480304" cy="39833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Chart Title / Headline"/>
          <p:cNvSpPr>
            <a:spLocks noGrp="1"/>
          </p:cNvSpPr>
          <p:nvPr>
            <p:ph type="body" sz="quarter" idx="22"/>
          </p:nvPr>
        </p:nvSpPr>
        <p:spPr>
          <a:xfrm>
            <a:off x="6256871" y="1719074"/>
            <a:ext cx="5480304" cy="40594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CD00439A-130B-4E04-85CB-DABD856B2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33B9B3F6-9F40-4388-9B79-8E0961AD2B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Content left">
            <a:extLst>
              <a:ext uri="{FF2B5EF4-FFF2-40B4-BE49-F238E27FC236}">
                <a16:creationId xmlns:a16="http://schemas.microsoft.com/office/drawing/2014/main" id="{81AD6F48-ECFC-4B93-B043-AEA877E0937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3"/>
            <a:ext cx="5480304" cy="44019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1673085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Title right / Headline"/>
          <p:cNvSpPr>
            <a:spLocks noGrp="1"/>
          </p:cNvSpPr>
          <p:nvPr>
            <p:ph type="body" sz="quarter" idx="22"/>
          </p:nvPr>
        </p:nvSpPr>
        <p:spPr>
          <a:xfrm>
            <a:off x="6254379" y="1719073"/>
            <a:ext cx="5486516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left"/>
          <p:cNvSpPr>
            <a:spLocks noGrp="1"/>
          </p:cNvSpPr>
          <p:nvPr>
            <p:ph type="chart" sz="quarter" idx="24"/>
          </p:nvPr>
        </p:nvSpPr>
        <p:spPr>
          <a:xfrm>
            <a:off x="460271" y="2115775"/>
            <a:ext cx="5480304" cy="39960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Chart Title left / Headline"/>
          <p:cNvSpPr>
            <a:spLocks noGrp="1"/>
          </p:cNvSpPr>
          <p:nvPr>
            <p:ph type="body" sz="quarter" idx="25"/>
          </p:nvPr>
        </p:nvSpPr>
        <p:spPr>
          <a:xfrm>
            <a:off x="463296" y="1719073"/>
            <a:ext cx="5480304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Chart Placeholder right">
            <a:extLst>
              <a:ext uri="{FF2B5EF4-FFF2-40B4-BE49-F238E27FC236}">
                <a16:creationId xmlns:a16="http://schemas.microsoft.com/office/drawing/2014/main" id="{F1BD57FD-600D-430A-AB0C-89DFCC950E21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6248403" y="2125011"/>
            <a:ext cx="5486397" cy="39960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ACD26822-93FD-4865-A5E4-053695247E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B7DE9340-98F1-4431-9CA2-BA6425441E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66089255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"/>
          <p:cNvSpPr>
            <a:spLocks noGrp="1"/>
          </p:cNvSpPr>
          <p:nvPr>
            <p:ph sz="quarter" idx="16"/>
          </p:nvPr>
        </p:nvSpPr>
        <p:spPr>
          <a:xfrm>
            <a:off x="5450349" y="1718455"/>
            <a:ext cx="6290545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834EAC11-4B6F-4989-ADAB-DCA27D91F5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615E83D0-63FA-4C06-8888-31EF8033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593F994E-D5B3-4236-9E8D-771F764DB8E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6017119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"/>
          <p:cNvSpPr>
            <a:spLocks noGrp="1"/>
          </p:cNvSpPr>
          <p:nvPr>
            <p:ph sz="quarter" idx="10"/>
          </p:nvPr>
        </p:nvSpPr>
        <p:spPr>
          <a:xfrm>
            <a:off x="8192978" y="1737504"/>
            <a:ext cx="3547917" cy="4644248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900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Left"/>
          <p:cNvSpPr>
            <a:spLocks noGrp="1"/>
          </p:cNvSpPr>
          <p:nvPr>
            <p:ph sz="quarter" idx="16"/>
          </p:nvPr>
        </p:nvSpPr>
        <p:spPr>
          <a:xfrm>
            <a:off x="473296" y="1718454"/>
            <a:ext cx="7400704" cy="46442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D58FC9CF-4F37-4309-BF5F-E64AE49426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6999054A-E358-4B12-B841-DE440A68D9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5371945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left"/>
          <p:cNvSpPr>
            <a:spLocks noGrp="1"/>
          </p:cNvSpPr>
          <p:nvPr>
            <p:ph type="chart" sz="quarter" idx="15"/>
          </p:nvPr>
        </p:nvSpPr>
        <p:spPr>
          <a:xfrm>
            <a:off x="461468" y="2115797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Chart Title left / Headline"/>
          <p:cNvSpPr>
            <a:spLocks noGrp="1"/>
          </p:cNvSpPr>
          <p:nvPr>
            <p:ph type="body" sz="quarter" idx="18"/>
          </p:nvPr>
        </p:nvSpPr>
        <p:spPr>
          <a:xfrm>
            <a:off x="459119" y="1722943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Chart Placeholder center">
            <a:extLst>
              <a:ext uri="{FF2B5EF4-FFF2-40B4-BE49-F238E27FC236}">
                <a16:creationId xmlns:a16="http://schemas.microsoft.com/office/drawing/2014/main" id="{16889619-7368-4B21-B502-003FD717C954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432357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0" name="Chart Title center / Headline">
            <a:extLst>
              <a:ext uri="{FF2B5EF4-FFF2-40B4-BE49-F238E27FC236}">
                <a16:creationId xmlns:a16="http://schemas.microsoft.com/office/drawing/2014/main" id="{7536B633-26E6-47E5-A809-A97D26199C4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122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Chart Placeholder right">
            <a:extLst>
              <a:ext uri="{FF2B5EF4-FFF2-40B4-BE49-F238E27FC236}">
                <a16:creationId xmlns:a16="http://schemas.microsoft.com/office/drawing/2014/main" id="{B4691CB5-FF7F-4DAF-80B3-769541086497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819369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2" name="Chart Title right / Headline">
            <a:extLst>
              <a:ext uri="{FF2B5EF4-FFF2-40B4-BE49-F238E27FC236}">
                <a16:creationId xmlns:a16="http://schemas.microsoft.com/office/drawing/2014/main" id="{D8875204-BB59-4C5F-ABB1-D0ECEC5A070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9134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3" name="Subtitle">
            <a:extLst>
              <a:ext uri="{FF2B5EF4-FFF2-40B4-BE49-F238E27FC236}">
                <a16:creationId xmlns:a16="http://schemas.microsoft.com/office/drawing/2014/main" id="{272C8D47-97C8-4E6F-91CC-C3AB406C1C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4" name="Title">
            <a:extLst>
              <a:ext uri="{FF2B5EF4-FFF2-40B4-BE49-F238E27FC236}">
                <a16:creationId xmlns:a16="http://schemas.microsoft.com/office/drawing/2014/main" id="{D65F0445-032D-4E6A-83EC-59A2184ED5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1451293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/>
          <p:cNvSpPr>
            <a:spLocks noGrp="1"/>
          </p:cNvSpPr>
          <p:nvPr>
            <p:ph type="pic" sz="quarter" idx="13"/>
          </p:nvPr>
        </p:nvSpPr>
        <p:spPr>
          <a:xfrm>
            <a:off x="481764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330040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171687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9020883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bottom left"/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bottom center left"/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bottom center right"/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bottom right"/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81DFAED1-3C69-4431-8715-026D730F1B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548C662B-0462-4963-B666-2976F675A1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534471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FEC01D-9E4A-A3B6-65C0-3825F8F6AA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5687633-4A66-4BC7-6120-722EC1B5E91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E23D67D-0EBD-F767-1F39-B06F77C036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B0ECF1-A56A-4ED7-43D3-BEA60D921D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6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B341865-32D7-D5D9-F995-8E1C555F1A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631D415-62EE-AF6E-6E15-24BD69037A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2314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"/>
          <p:cNvSpPr>
            <a:spLocks noGrp="1"/>
          </p:cNvSpPr>
          <p:nvPr>
            <p:ph type="pic" sz="quarter" idx="25"/>
          </p:nvPr>
        </p:nvSpPr>
        <p:spPr>
          <a:xfrm>
            <a:off x="475645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266617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5645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31"/>
          </p:nvPr>
        </p:nvSpPr>
        <p:spPr>
          <a:xfrm>
            <a:off x="6266617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upper left"/>
          <p:cNvSpPr>
            <a:spLocks noGrp="1"/>
          </p:cNvSpPr>
          <p:nvPr>
            <p:ph type="body" sz="quarter" idx="32"/>
          </p:nvPr>
        </p:nvSpPr>
        <p:spPr>
          <a:xfrm>
            <a:off x="2655128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upper right"/>
          <p:cNvSpPr>
            <a:spLocks noGrp="1"/>
          </p:cNvSpPr>
          <p:nvPr>
            <p:ph type="body" sz="quarter" idx="33"/>
          </p:nvPr>
        </p:nvSpPr>
        <p:spPr>
          <a:xfrm>
            <a:off x="8439092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bottom left"/>
          <p:cNvSpPr>
            <a:spLocks noGrp="1"/>
          </p:cNvSpPr>
          <p:nvPr>
            <p:ph type="body" sz="quarter" idx="34"/>
          </p:nvPr>
        </p:nvSpPr>
        <p:spPr>
          <a:xfrm>
            <a:off x="2655128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bottom right"/>
          <p:cNvSpPr>
            <a:spLocks noGrp="1"/>
          </p:cNvSpPr>
          <p:nvPr>
            <p:ph type="body" sz="quarter" idx="35"/>
          </p:nvPr>
        </p:nvSpPr>
        <p:spPr>
          <a:xfrm>
            <a:off x="8439092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Subtitle">
            <a:extLst>
              <a:ext uri="{FF2B5EF4-FFF2-40B4-BE49-F238E27FC236}">
                <a16:creationId xmlns:a16="http://schemas.microsoft.com/office/drawing/2014/main" id="{CD54EF50-1F75-4251-9838-5413705270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580152B0-65C5-4969-BA13-FFC077318B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DAFD084-463A-44C6-B882-24EE18CC2B98}"/>
              </a:ext>
            </a:extLst>
          </p:cNvPr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1E7FDC9-AC67-4CA4-86DE-4DFAAEE0DFF9}"/>
              </a:ext>
            </a:extLst>
          </p:cNvPr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0BFD11F-868A-4204-947B-D205C842DFE0}"/>
              </a:ext>
            </a:extLst>
          </p:cNvPr>
          <p:cNvSpPr/>
          <p:nvPr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CD1FA4C-A499-4E17-B3FC-CC3DA6E8CF7C}"/>
              </a:ext>
            </a:extLst>
          </p:cNvPr>
          <p:cNvSpPr/>
          <p:nvPr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1748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left"/>
          <p:cNvSpPr>
            <a:spLocks noGrp="1"/>
          </p:cNvSpPr>
          <p:nvPr>
            <p:ph type="body" sz="quarter" idx="17"/>
          </p:nvPr>
        </p:nvSpPr>
        <p:spPr>
          <a:xfrm>
            <a:off x="470343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right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6" name="Picture left"/>
          <p:cNvSpPr>
            <a:spLocks noGrp="1"/>
          </p:cNvSpPr>
          <p:nvPr>
            <p:ph type="pic" sz="quarter" idx="19" hasCustomPrompt="1"/>
          </p:nvPr>
        </p:nvSpPr>
        <p:spPr>
          <a:xfrm>
            <a:off x="4734090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right"/>
          <p:cNvSpPr>
            <a:spLocks noGrp="1"/>
          </p:cNvSpPr>
          <p:nvPr>
            <p:ph type="pic" sz="quarter" idx="20" hasCustomPrompt="1"/>
          </p:nvPr>
        </p:nvSpPr>
        <p:spPr>
          <a:xfrm>
            <a:off x="10488434" y="1857894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C2FDA775-7453-495D-ABC5-C379E37806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D55BC33C-2B71-4E68-81E3-F520AB462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0883534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">
            <a:extLst>
              <a:ext uri="{FF2B5EF4-FFF2-40B4-BE49-F238E27FC236}">
                <a16:creationId xmlns:a16="http://schemas.microsoft.com/office/drawing/2014/main" id="{8D89C7E6-37F5-4005-B8BE-658A5ADDE2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0FA13130-E22F-4F71-97DB-A64E7A175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38085370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26FB2E4B-5D1B-4250-844C-3D50DE4A9F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6075510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-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2AA0174D-B09C-4960-94D1-79FD4D04BD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Title ( as Text PH)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ubtitle ( as Text PH)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6835065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/>
          <p:cNvSpPr>
            <a:spLocks noGrp="1"/>
          </p:cNvSpPr>
          <p:nvPr>
            <p:ph idx="1"/>
          </p:nvPr>
        </p:nvSpPr>
        <p:spPr>
          <a:xfrm>
            <a:off x="461823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Subtitle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5964882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middle">
            <a:extLst>
              <a:ext uri="{FF2B5EF4-FFF2-40B4-BE49-F238E27FC236}">
                <a16:creationId xmlns:a16="http://schemas.microsoft.com/office/drawing/2014/main" id="{09891263-8779-41FC-9383-3693CA16CB1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8730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center">
            <a:extLst>
              <a:ext uri="{FF2B5EF4-FFF2-40B4-BE49-F238E27FC236}">
                <a16:creationId xmlns:a16="http://schemas.microsoft.com/office/drawing/2014/main" id="{3F862111-A699-4618-9902-CD7B1ECC90E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14826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right">
            <a:extLst>
              <a:ext uri="{FF2B5EF4-FFF2-40B4-BE49-F238E27FC236}">
                <a16:creationId xmlns:a16="http://schemas.microsoft.com/office/drawing/2014/main" id="{136FEA86-C43A-4BD9-AC25-65C16B3F484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78800" y="1851440"/>
            <a:ext cx="3556000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9D600A6A-61E2-4C72-A87B-39D905EFB4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9" name="Title">
            <a:extLst>
              <a:ext uri="{FF2B5EF4-FFF2-40B4-BE49-F238E27FC236}">
                <a16:creationId xmlns:a16="http://schemas.microsoft.com/office/drawing/2014/main" id="{D5910C4A-3157-47A5-8677-1140132DE3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21E1916-39D6-44A9-8C07-60C8660A0953}"/>
              </a:ext>
            </a:extLst>
          </p:cNvPr>
          <p:cNvSpPr/>
          <p:nvPr/>
        </p:nvSpPr>
        <p:spPr>
          <a:xfrm>
            <a:off x="458729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2178E01-9486-4723-8ECD-9A89CE53905A}"/>
              </a:ext>
            </a:extLst>
          </p:cNvPr>
          <p:cNvSpPr/>
          <p:nvPr/>
        </p:nvSpPr>
        <p:spPr>
          <a:xfrm>
            <a:off x="4314824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82A3624-848D-4789-989D-4C19B95C8DD4}"/>
              </a:ext>
            </a:extLst>
          </p:cNvPr>
          <p:cNvSpPr/>
          <p:nvPr/>
        </p:nvSpPr>
        <p:spPr>
          <a:xfrm>
            <a:off x="8178800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78639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BAA35D0E-EBF0-4599-84F7-684DE89E56A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CBCDA542-DB63-41BB-89C0-73F35C7D17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 left">
            <a:extLst>
              <a:ext uri="{FF2B5EF4-FFF2-40B4-BE49-F238E27FC236}">
                <a16:creationId xmlns:a16="http://schemas.microsoft.com/office/drawing/2014/main" id="{C73178E3-6490-436A-8FEB-CC4E21B542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center right">
            <a:extLst>
              <a:ext uri="{FF2B5EF4-FFF2-40B4-BE49-F238E27FC236}">
                <a16:creationId xmlns:a16="http://schemas.microsoft.com/office/drawing/2014/main" id="{1B5A2B37-A59A-4B85-9144-75BC73AD9DB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center left">
            <a:extLst>
              <a:ext uri="{FF2B5EF4-FFF2-40B4-BE49-F238E27FC236}">
                <a16:creationId xmlns:a16="http://schemas.microsoft.com/office/drawing/2014/main" id="{0EDB9492-A5FE-44CC-90D8-0E0E80A4E8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right">
            <a:extLst>
              <a:ext uri="{FF2B5EF4-FFF2-40B4-BE49-F238E27FC236}">
                <a16:creationId xmlns:a16="http://schemas.microsoft.com/office/drawing/2014/main" id="{3D335E86-FA3A-4B76-B4D1-5D530C4E37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16209519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5BECBA53-5CA5-4826-B507-38E5EDBC493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83571CF0-9FB3-44B1-BE19-B891DD1B11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left">
            <a:extLst>
              <a:ext uri="{FF2B5EF4-FFF2-40B4-BE49-F238E27FC236}">
                <a16:creationId xmlns:a16="http://schemas.microsoft.com/office/drawing/2014/main" id="{CA32CD74-2C13-40B4-A25F-8871032067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ext center right">
            <a:extLst>
              <a:ext uri="{FF2B5EF4-FFF2-40B4-BE49-F238E27FC236}">
                <a16:creationId xmlns:a16="http://schemas.microsoft.com/office/drawing/2014/main" id="{0BD8344B-373A-4CA8-9F91-E02B0DA48BC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0" name="Text center left">
            <a:extLst>
              <a:ext uri="{FF2B5EF4-FFF2-40B4-BE49-F238E27FC236}">
                <a16:creationId xmlns:a16="http://schemas.microsoft.com/office/drawing/2014/main" id="{55636606-D676-4661-AF12-C0DF71DF3A7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1" name="Text right">
            <a:extLst>
              <a:ext uri="{FF2B5EF4-FFF2-40B4-BE49-F238E27FC236}">
                <a16:creationId xmlns:a16="http://schemas.microsoft.com/office/drawing/2014/main" id="{59A4F706-D410-4A3E-B5DE-E6CD51845EA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aseCode">
            <a:extLst>
              <a:ext uri="{FF2B5EF4-FFF2-40B4-BE49-F238E27FC236}">
                <a16:creationId xmlns:a16="http://schemas.microsoft.com/office/drawing/2014/main" id="{80722BCF-EAC6-4563-95CB-8DBE842E9D0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900FBF6-54F6-4B67-A1F3-CFB545048C2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68D3198-C277-4239-A0FE-263D3F9A09AF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717923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85324" y="1853601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2979" y="4258270"/>
            <a:ext cx="123938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500785" y="4258270"/>
            <a:ext cx="1244160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5149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28" name="Text top left">
            <a:extLst>
              <a:ext uri="{FF2B5EF4-FFF2-40B4-BE49-F238E27FC236}">
                <a16:creationId xmlns:a16="http://schemas.microsoft.com/office/drawing/2014/main" id="{0D485CFD-E778-438B-9F95-AA857AF5CA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0344" y="1856232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9" name="Text top right">
            <a:extLst>
              <a:ext uri="{FF2B5EF4-FFF2-40B4-BE49-F238E27FC236}">
                <a16:creationId xmlns:a16="http://schemas.microsoft.com/office/drawing/2014/main" id="{1995C2BA-4183-48F4-92D9-4620CCDF5C1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7042" y="1847618"/>
            <a:ext cx="546461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0" name="Text bottom left">
            <a:extLst>
              <a:ext uri="{FF2B5EF4-FFF2-40B4-BE49-F238E27FC236}">
                <a16:creationId xmlns:a16="http://schemas.microsoft.com/office/drawing/2014/main" id="{2DC3B9DA-0A51-491C-923B-09D36118ADA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0344" y="4256623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1" name="Text bottom right">
            <a:extLst>
              <a:ext uri="{FF2B5EF4-FFF2-40B4-BE49-F238E27FC236}">
                <a16:creationId xmlns:a16="http://schemas.microsoft.com/office/drawing/2014/main" id="{70BD43BA-DF89-409F-B9BF-2853EC35826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57043" y="4256623"/>
            <a:ext cx="5483852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E3C8C216-A0D5-48CE-BB18-6E34DE5AE0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A6B3ABAE-3971-4ECC-8E25-1E94617FBF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3E3D5E-69E0-409C-B43B-3D03BAF8E640}"/>
              </a:ext>
            </a:extLst>
          </p:cNvPr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AC51DC9-50A0-4091-8F6F-9150D453B6B1}"/>
              </a:ext>
            </a:extLst>
          </p:cNvPr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118D7C8-CEED-48A7-ADB2-7610B12C1B07}"/>
              </a:ext>
            </a:extLst>
          </p:cNvPr>
          <p:cNvSpPr/>
          <p:nvPr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7A403C2-4204-4E69-B696-73BE1FE1F740}"/>
              </a:ext>
            </a:extLst>
          </p:cNvPr>
          <p:cNvSpPr/>
          <p:nvPr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36631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AD72B7-5058-5133-7CFE-5E343C00C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C94835-D373-8DA6-651A-5C9A478232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0D3BBFA-AD95-0E13-6EF5-A4A64CBA0F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6BB9A80-373E-F727-3800-08BF4F3854A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D11283F-EBD5-E144-4C12-EFC44FA2CE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DB5DAD4-05BF-D04A-65AC-C076610680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6.01.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99E5D2D-635B-3F4C-7B54-42735AC59E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EC08986-68EA-14BF-94CA-1527B9137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18502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left"/>
          <p:cNvSpPr>
            <a:spLocks noGrp="1"/>
          </p:cNvSpPr>
          <p:nvPr>
            <p:ph type="body" sz="quarter" idx="13"/>
          </p:nvPr>
        </p:nvSpPr>
        <p:spPr>
          <a:xfrm>
            <a:off x="464481" y="4189870"/>
            <a:ext cx="8566108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6185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/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bottom right"/>
          <p:cNvSpPr>
            <a:spLocks noGrp="1"/>
          </p:cNvSpPr>
          <p:nvPr>
            <p:ph type="body" sz="quarter" idx="15"/>
          </p:nvPr>
        </p:nvSpPr>
        <p:spPr>
          <a:xfrm>
            <a:off x="9406187" y="5995943"/>
            <a:ext cx="2319501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MIO_AGENDA_LAST_SLIDE" hidden="1">
            <a:extLst>
              <a:ext uri="{FF2B5EF4-FFF2-40B4-BE49-F238E27FC236}">
                <a16:creationId xmlns:a16="http://schemas.microsoft.com/office/drawing/2014/main" id="{249491D1-41CC-455A-8F05-5CEA24B33A18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MIO_AGENDA_IGNORE_NAVIGATION" hidden="1">
            <a:extLst>
              <a:ext uri="{FF2B5EF4-FFF2-40B4-BE49-F238E27FC236}">
                <a16:creationId xmlns:a16="http://schemas.microsoft.com/office/drawing/2014/main" id="{9518ECE1-C45A-4DB9-B0F0-E67A14C77DA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642E351A-DEBD-43E5-AD67-7FEDF79D24F3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CD62DBCE-A9B0-4246-A41B-735C969CF0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0804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left"/>
          <p:cNvSpPr>
            <a:spLocks noGrp="1"/>
          </p:cNvSpPr>
          <p:nvPr>
            <p:ph type="body" sz="quarter" idx="13"/>
          </p:nvPr>
        </p:nvSpPr>
        <p:spPr>
          <a:xfrm>
            <a:off x="466316" y="4194287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12074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bottom right"/>
          <p:cNvSpPr>
            <a:spLocks noGrp="1"/>
          </p:cNvSpPr>
          <p:nvPr>
            <p:ph type="body" sz="quarter" idx="15"/>
          </p:nvPr>
        </p:nvSpPr>
        <p:spPr>
          <a:xfrm>
            <a:off x="9412076" y="5995943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MIO_AGENDA_LAST_SLIDE" hidden="1">
            <a:extLst>
              <a:ext uri="{FF2B5EF4-FFF2-40B4-BE49-F238E27FC236}">
                <a16:creationId xmlns:a16="http://schemas.microsoft.com/office/drawing/2014/main" id="{4DE01233-0E5B-4D44-9AA0-8C2FAEC3AA99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MIO_AGENDA_IGNORE_NAVIGATION" hidden="1">
            <a:extLst>
              <a:ext uri="{FF2B5EF4-FFF2-40B4-BE49-F238E27FC236}">
                <a16:creationId xmlns:a16="http://schemas.microsoft.com/office/drawing/2014/main" id="{C544D53A-D969-4D8A-9227-FE63C48016F6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MIO_AGENDA_IGNORE_CHAPTER_REFERENCE" hidden="1">
            <a:extLst>
              <a:ext uri="{FF2B5EF4-FFF2-40B4-BE49-F238E27FC236}">
                <a16:creationId xmlns:a16="http://schemas.microsoft.com/office/drawing/2014/main" id="{73E0B1A6-781D-43D1-9647-99C9EAE528B1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E527060D-3343-49A1-9B3C-60374CE0CF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197703"/>
      </p:ext>
    </p:extLst>
  </p:cSld>
  <p:clrMapOvr>
    <a:masterClrMapping/>
  </p:clrMapOvr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"/>
          <p:cNvSpPr>
            <a:spLocks noGrp="1"/>
          </p:cNvSpPr>
          <p:nvPr>
            <p:ph idx="1"/>
          </p:nvPr>
        </p:nvSpPr>
        <p:spPr>
          <a:xfrm>
            <a:off x="457200" y="1714500"/>
            <a:ext cx="5638799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D6D36862-655E-4012-828B-77C9C50E5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0FBE14FE-8368-48A9-9469-038784957BD4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79949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F614DE80-8C7B-4676-9D35-D659766837C7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9D7CC3-2CA9-46E2-81C1-FB4543CB2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902917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83AF7E6C-5496-4190-AE22-49321A84B469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VALID_LAYOUT" hidden="1">
            <a:extLst>
              <a:ext uri="{FF2B5EF4-FFF2-40B4-BE49-F238E27FC236}">
                <a16:creationId xmlns:a16="http://schemas.microsoft.com/office/drawing/2014/main" id="{636C7600-5E54-4871-BD57-39F7D85C9645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7A5342FA-67EE-4ADC-9C59-3703A4E30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23431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MIO_VALID_LAYOUT" hidden="1">
            <a:extLst>
              <a:ext uri="{FF2B5EF4-FFF2-40B4-BE49-F238E27FC236}">
                <a16:creationId xmlns:a16="http://schemas.microsoft.com/office/drawing/2014/main" id="{EDA56DE6-A1BA-458D-8E96-17188D541BFA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12A54FD-069B-4D28-8BAD-8C8AADEED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1218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, 1 column text with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Content"/>
          <p:cNvSpPr>
            <a:spLocks noGrp="1"/>
          </p:cNvSpPr>
          <p:nvPr>
            <p:ph idx="1"/>
          </p:nvPr>
        </p:nvSpPr>
        <p:spPr>
          <a:xfrm>
            <a:off x="460887" y="1714500"/>
            <a:ext cx="11277598" cy="46481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MIO_VALID_LAYOUT" hidden="1">
            <a:extLst>
              <a:ext uri="{FF2B5EF4-FFF2-40B4-BE49-F238E27FC236}">
                <a16:creationId xmlns:a16="http://schemas.microsoft.com/office/drawing/2014/main" id="{C4C53B51-12E9-46AC-A69D-84DDBEA6B078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EC1E235-3062-4F03-8411-7E415A894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74711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&amp;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4509" y="2080551"/>
            <a:ext cx="11281285" cy="40404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Headline / Chart title"/>
          <p:cNvSpPr>
            <a:spLocks noGrp="1"/>
          </p:cNvSpPr>
          <p:nvPr>
            <p:ph type="body" sz="quarter" idx="18"/>
          </p:nvPr>
        </p:nvSpPr>
        <p:spPr>
          <a:xfrm>
            <a:off x="457200" y="1723364"/>
            <a:ext cx="11288595" cy="3571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9C5E24D-2264-4B37-BBC9-253349E5F4FF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599738-D568-49F1-87EE-956C570FD9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76631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57038" y="2136645"/>
            <a:ext cx="5381445" cy="3971013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57041" y="1714500"/>
            <a:ext cx="5381443" cy="383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0887" y="2136645"/>
            <a:ext cx="5372330" cy="3971013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0887" y="1714500"/>
            <a:ext cx="5374803" cy="383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C2140F0C-FA1D-42CA-9599-41C4E3B59FD5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DC52FF8-2BD1-46C1-8105-1A58621541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2553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0887" y="2064085"/>
            <a:ext cx="3552881" cy="4043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Headline left / Chart title"/>
          <p:cNvSpPr>
            <a:spLocks noGrp="1"/>
          </p:cNvSpPr>
          <p:nvPr>
            <p:ph type="body" sz="quarter" idx="18"/>
          </p:nvPr>
        </p:nvSpPr>
        <p:spPr>
          <a:xfrm>
            <a:off x="460887" y="1714500"/>
            <a:ext cx="3552313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17849" y="2064085"/>
            <a:ext cx="3567833" cy="4043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8" name="Headline center / Chart title"/>
          <p:cNvSpPr>
            <a:spLocks noGrp="1"/>
          </p:cNvSpPr>
          <p:nvPr>
            <p:ph type="body" sz="quarter" idx="20"/>
          </p:nvPr>
        </p:nvSpPr>
        <p:spPr>
          <a:xfrm>
            <a:off x="4317847" y="1714500"/>
            <a:ext cx="3567833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67555" y="2064085"/>
            <a:ext cx="3552886" cy="4043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0" name="Headline right / Chart title"/>
          <p:cNvSpPr>
            <a:spLocks noGrp="1"/>
          </p:cNvSpPr>
          <p:nvPr>
            <p:ph type="body" sz="quarter" idx="22"/>
          </p:nvPr>
        </p:nvSpPr>
        <p:spPr>
          <a:xfrm>
            <a:off x="8167555" y="1714500"/>
            <a:ext cx="3552886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8DE0E4EB-2CC6-4FB2-8DAE-A99F30E30E6D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B8D8EA-18D3-4433-A2E1-2A9E61E55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85315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223778-4C37-0D90-F505-9A28723F57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01E455B-39D6-9E29-6931-7EE939D63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6.01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FABB72C-ED0D-87BF-F669-EC3031E11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623494-E1CD-CF7A-9677-0BCBA97071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21650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A25958E-1139-CF0F-B099-004A9A562B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6.01.20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F37230A-1EA1-E628-B5BD-99DB4C3A91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4D70B7B-6E95-EEFC-E96F-CE25147A22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9043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437916-8E9E-857C-DC20-3350BDAA2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F40702A-330C-5C7E-1907-5494A3415D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9B74CD-2984-2636-EC15-A291C18157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48AAECF-A7B9-8F4A-9BEC-6844B70F08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6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2B17B6F-162B-382E-644A-2E1F505FD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E6FF94F-CB19-524B-6BC1-000B8A509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8448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4799C2-9EEF-21B9-FCC2-202FCC50C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D57289FA-F3AB-9A87-E101-052F2B75C1C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F5F9253-FB6A-4C28-B1DB-D2BB3B5633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DF5CCFC-E67F-8259-0501-1095190F86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6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1E48A9C-CAC5-F443-0926-AB076FECC8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955176F-6D7D-5344-A978-1D93065817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15329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tags" Target="../tags/tag1.xml"/><Relationship Id="rId55" Type="http://schemas.openxmlformats.org/officeDocument/2006/relationships/image" Target="../media/image1.bin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tags" Target="../tags/tag4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tags" Target="../tags/tag3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8" Type="http://schemas.openxmlformats.org/officeDocument/2006/relationships/slideLayout" Target="../slideLayouts/slideLayout19.xml"/><Relationship Id="rId51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9C9B0AD-B397-B7F8-652F-057E07FAC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9C97EAC-974A-7817-8FCD-BBE0D2372A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3E5C228-3454-2110-F24D-35EA5DC4C1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42C742-0D0B-441D-9413-6B64D1F25131}" type="datetimeFigureOut">
              <a:rPr lang="de-DE" smtClean="0"/>
              <a:t>06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3639F9-4C62-7DB6-192D-C9977E90A2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B4B804C-3D3C-C048-E59E-A53F497F95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1569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28FFD4C-A54A-44BE-B5F8-0D7EBAA5FD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830870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4" imgW="425" imgH="426" progId="TCLayout.ActiveDocument.1">
                  <p:embed/>
                </p:oleObj>
              </mc:Choice>
              <mc:Fallback>
                <p:oleObj name="think-cell Slide" r:id="rId54" imgW="425" imgH="42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28FFD4C-A54A-44BE-B5F8-0D7EBAA5FD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345664"/>
            <a:ext cx="1128128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>
            <p:custDataLst>
              <p:tags r:id="rId51"/>
            </p:custDataLst>
          </p:nvPr>
        </p:nvSpPr>
        <p:spPr>
          <a:xfrm>
            <a:off x="6335184" y="6519673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llective Behavior – Optimal Shepherding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0887" y="1714500"/>
            <a:ext cx="11277599" cy="4648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empower - DO NOT DELETE!!!">
            <a:extLst>
              <a:ext uri="{FF2B5EF4-FFF2-40B4-BE49-F238E27FC236}">
                <a16:creationId xmlns:a16="http://schemas.microsoft.com/office/drawing/2014/main" id="{AF3F685E-75BA-4AAC-8247-5B8C55DC34A1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010D3BDB-9505-4DFA-9DF5-8ABBE694D4C1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4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</p:sldLayoutIdLst>
  <p:transition>
    <p:fade/>
  </p:transition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75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0477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•"/>
        <a:defRPr lang="en-US" sz="1200" b="1" kern="1200" dirty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228600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242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476250" indent="-104775" algn="l" defTabSz="598885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267300" indent="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None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5" orient="horz" pos="4008">
          <p15:clr>
            <a:srgbClr val="F26B43"/>
          </p15:clr>
        </p15:guide>
        <p15:guide id="49" orient="horz" pos="436">
          <p15:clr>
            <a:srgbClr val="F26B43"/>
          </p15:clr>
        </p15:guide>
        <p15:guide id="68" orient="horz" pos="4104">
          <p15:clr>
            <a:srgbClr val="F26B43"/>
          </p15:clr>
        </p15:guide>
        <p15:guide id="69" orient="horz" pos="2088">
          <p15:clr>
            <a:srgbClr val="F26B43"/>
          </p15:clr>
        </p15:guide>
        <p15:guide id="70" orient="horz" pos="1080">
          <p15:clr>
            <a:srgbClr val="F26B43"/>
          </p15:clr>
        </p15:guide>
        <p15:guide id="71" orient="horz" pos="216">
          <p15:clr>
            <a:srgbClr val="F26B43"/>
          </p15:clr>
        </p15:guide>
        <p15:guide id="72" pos="3840">
          <p15:clr>
            <a:srgbClr val="F26B43"/>
          </p15:clr>
        </p15:guide>
        <p15:guide id="73" pos="3936">
          <p15:clr>
            <a:srgbClr val="F26B43"/>
          </p15:clr>
        </p15:guide>
        <p15:guide id="74" pos="288">
          <p15:clr>
            <a:srgbClr val="F26B43"/>
          </p15:clr>
        </p15:guide>
        <p15:guide id="75" pos="4960">
          <p15:clr>
            <a:srgbClr val="F26B43"/>
          </p15:clr>
        </p15:guide>
        <p15:guide id="76" pos="3744">
          <p15:clr>
            <a:srgbClr val="F26B43"/>
          </p15:clr>
        </p15:guide>
        <p15:guide id="77" pos="2720">
          <p15:clr>
            <a:srgbClr val="F26B43"/>
          </p15:clr>
        </p15:guide>
        <p15:guide id="78" pos="2528">
          <p15:clr>
            <a:srgbClr val="F26B43"/>
          </p15:clr>
        </p15:guide>
        <p15:guide id="79" pos="1312">
          <p15:clr>
            <a:srgbClr val="F26B43"/>
          </p15:clr>
        </p15:guide>
        <p15:guide id="80" pos="1504">
          <p15:clr>
            <a:srgbClr val="F26B43"/>
          </p15:clr>
        </p15:guide>
        <p15:guide id="81" pos="5152">
          <p15:clr>
            <a:srgbClr val="F26B43"/>
          </p15:clr>
        </p15:guide>
        <p15:guide id="82" pos="6176">
          <p15:clr>
            <a:srgbClr val="F26B43"/>
          </p15:clr>
        </p15:guide>
        <p15:guide id="83" pos="6368">
          <p15:clr>
            <a:srgbClr val="F26B43"/>
          </p15:clr>
        </p15:guide>
        <p15:guide id="84" pos="7392">
          <p15:clr>
            <a:srgbClr val="F26B43"/>
          </p15:clr>
        </p15:guide>
        <p15:guide id="85" orient="horz" pos="21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6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9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10" Type="http://schemas.openxmlformats.org/officeDocument/2006/relationships/image" Target="../media/image21.png"/><Relationship Id="rId4" Type="http://schemas.openxmlformats.org/officeDocument/2006/relationships/diagramData" Target="../diagrams/data1.xml"/><Relationship Id="rId9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0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1.xml"/><Relationship Id="rId6" Type="http://schemas.openxmlformats.org/officeDocument/2006/relationships/image" Target="../media/image22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video" Target="../media/media1.mp4"/><Relationship Id="rId7" Type="http://schemas.openxmlformats.org/officeDocument/2006/relationships/image" Target="../media/image7.svg"/><Relationship Id="rId2" Type="http://schemas.microsoft.com/office/2007/relationships/media" Target="../media/media1.mp4"/><Relationship Id="rId1" Type="http://schemas.openxmlformats.org/officeDocument/2006/relationships/tags" Target="../tags/tag32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4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video" Target="../media/media2.mp4"/><Relationship Id="rId7" Type="http://schemas.openxmlformats.org/officeDocument/2006/relationships/image" Target="../media/image7.svg"/><Relationship Id="rId2" Type="http://schemas.microsoft.com/office/2007/relationships/media" Target="../media/media2.mp4"/><Relationship Id="rId1" Type="http://schemas.openxmlformats.org/officeDocument/2006/relationships/tags" Target="../tags/tag33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4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video" Target="../media/media3.mp4"/><Relationship Id="rId7" Type="http://schemas.openxmlformats.org/officeDocument/2006/relationships/image" Target="../media/image7.svg"/><Relationship Id="rId2" Type="http://schemas.microsoft.com/office/2007/relationships/media" Target="../media/media3.mp4"/><Relationship Id="rId1" Type="http://schemas.openxmlformats.org/officeDocument/2006/relationships/tags" Target="../tags/tag34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4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5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3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6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9.svg"/><Relationship Id="rId10" Type="http://schemas.openxmlformats.org/officeDocument/2006/relationships/image" Target="../media/image16.png"/><Relationship Id="rId4" Type="http://schemas.openxmlformats.org/officeDocument/2006/relationships/image" Target="../media/image8.png"/><Relationship Id="rId9" Type="http://schemas.openxmlformats.org/officeDocument/2006/relationships/image" Target="../media/image27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7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8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9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4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5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Relationship Id="rId9" Type="http://schemas.openxmlformats.org/officeDocument/2006/relationships/image" Target="../media/image11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1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1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1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6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8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66" name="Rectangle 1057">
            <a:extLst>
              <a:ext uri="{FF2B5EF4-FFF2-40B4-BE49-F238E27FC236}">
                <a16:creationId xmlns:a16="http://schemas.microsoft.com/office/drawing/2014/main" id="{0671A8AE-40A1-4631-A6B8-581AFF0654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Ein Bild, das Säugetier, Schaf, draußen, Himmel enthält.&#10;&#10;Automatisch generierte Beschreibung">
            <a:extLst>
              <a:ext uri="{FF2B5EF4-FFF2-40B4-BE49-F238E27FC236}">
                <a16:creationId xmlns:a16="http://schemas.microsoft.com/office/drawing/2014/main" id="{B2F26092-70FC-F90C-3506-A1D8911A6A6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25" t="9091" r="24968" b="1"/>
          <a:stretch/>
        </p:blipFill>
        <p:spPr>
          <a:xfrm>
            <a:off x="3523488" y="10"/>
            <a:ext cx="8668512" cy="6857990"/>
          </a:xfrm>
          <a:prstGeom prst="rect">
            <a:avLst/>
          </a:prstGeom>
        </p:spPr>
      </p:pic>
      <p:sp>
        <p:nvSpPr>
          <p:cNvPr id="1067" name="Rectangle 1059">
            <a:extLst>
              <a:ext uri="{FF2B5EF4-FFF2-40B4-BE49-F238E27FC236}">
                <a16:creationId xmlns:a16="http://schemas.microsoft.com/office/drawing/2014/main" id="{AB58EF07-17C2-48CF-ABB0-EEF1F17CB8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" y="0"/>
            <a:ext cx="9339206" cy="6858000"/>
          </a:xfrm>
          <a:prstGeom prst="rect">
            <a:avLst/>
          </a:prstGeom>
          <a:gradFill>
            <a:gsLst>
              <a:gs pos="58000">
                <a:schemeClr val="tx1"/>
              </a:gs>
              <a:gs pos="33000">
                <a:schemeClr val="tx1">
                  <a:alpha val="64000"/>
                </a:schemeClr>
              </a:gs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D5AE22C-798B-B165-2939-91B01C1ED0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7980" y="1122363"/>
            <a:ext cx="4642659" cy="3204134"/>
          </a:xfrm>
        </p:spPr>
        <p:txBody>
          <a:bodyPr anchor="b">
            <a:normAutofit/>
          </a:bodyPr>
          <a:lstStyle/>
          <a:p>
            <a:pPr algn="l"/>
            <a:r>
              <a:rPr lang="de-DE" sz="4400" dirty="0">
                <a:solidFill>
                  <a:schemeClr val="bg1"/>
                </a:solidFill>
              </a:rPr>
              <a:t>Collective </a:t>
            </a:r>
            <a:r>
              <a:rPr lang="de-DE" sz="4400" dirty="0" err="1">
                <a:solidFill>
                  <a:schemeClr val="bg1"/>
                </a:solidFill>
              </a:rPr>
              <a:t>Behavior</a:t>
            </a:r>
            <a:br>
              <a:rPr lang="de-DE" sz="4400" dirty="0">
                <a:solidFill>
                  <a:schemeClr val="bg1"/>
                </a:solidFill>
              </a:rPr>
            </a:br>
            <a:br>
              <a:rPr lang="de-DE" sz="4400" dirty="0">
                <a:solidFill>
                  <a:schemeClr val="bg1"/>
                </a:solidFill>
              </a:rPr>
            </a:br>
            <a:r>
              <a:rPr lang="de-DE" sz="4400" dirty="0">
                <a:solidFill>
                  <a:schemeClr val="bg1"/>
                </a:solidFill>
              </a:rPr>
              <a:t>Optimal </a:t>
            </a:r>
            <a:r>
              <a:rPr lang="de-DE" sz="4400" dirty="0" err="1">
                <a:solidFill>
                  <a:schemeClr val="bg1"/>
                </a:solidFill>
              </a:rPr>
              <a:t>Shepherding</a:t>
            </a:r>
            <a:r>
              <a:rPr lang="de-DE" sz="4400" dirty="0">
                <a:solidFill>
                  <a:schemeClr val="bg1"/>
                </a:solidFill>
              </a:rPr>
              <a:t> </a:t>
            </a:r>
            <a:br>
              <a:rPr lang="de-DE" sz="4400" dirty="0">
                <a:solidFill>
                  <a:schemeClr val="bg1"/>
                </a:solidFill>
              </a:rPr>
            </a:br>
            <a:endParaRPr lang="de-DE" sz="4400" dirty="0">
              <a:solidFill>
                <a:schemeClr val="bg1"/>
              </a:solidFill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D291BB2-1F94-0500-9122-540BE66E8D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7980" y="4872922"/>
            <a:ext cx="4023359" cy="1208141"/>
          </a:xfrm>
        </p:spPr>
        <p:txBody>
          <a:bodyPr>
            <a:normAutofit fontScale="70000" lnSpcReduction="20000"/>
          </a:bodyPr>
          <a:lstStyle/>
          <a:p>
            <a:pPr algn="l"/>
            <a:r>
              <a:rPr lang="de-DE" sz="2000" dirty="0">
                <a:solidFill>
                  <a:schemeClr val="bg1"/>
                </a:solidFill>
              </a:rPr>
              <a:t>Franziska Weber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Franz Muszarsky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Kimberley Frings</a:t>
            </a:r>
          </a:p>
          <a:p>
            <a:pPr algn="l"/>
            <a:endParaRPr lang="de-DE" sz="2000" dirty="0">
              <a:solidFill>
                <a:schemeClr val="bg1"/>
              </a:solidFill>
            </a:endParaRPr>
          </a:p>
          <a:p>
            <a:pPr algn="l"/>
            <a:r>
              <a:rPr lang="de-DE" sz="2000" dirty="0" err="1">
                <a:solidFill>
                  <a:schemeClr val="bg1"/>
                </a:solidFill>
              </a:rPr>
              <a:t>Iztok</a:t>
            </a:r>
            <a:r>
              <a:rPr lang="de-DE" sz="2000" dirty="0">
                <a:solidFill>
                  <a:schemeClr val="bg1"/>
                </a:solidFill>
              </a:rPr>
              <a:t> </a:t>
            </a:r>
            <a:r>
              <a:rPr lang="de-DE" sz="2000" dirty="0" err="1">
                <a:solidFill>
                  <a:schemeClr val="bg1"/>
                </a:solidFill>
              </a:rPr>
              <a:t>Lebar</a:t>
            </a:r>
            <a:r>
              <a:rPr lang="de-DE" sz="2000" dirty="0">
                <a:solidFill>
                  <a:schemeClr val="bg1"/>
                </a:solidFill>
              </a:rPr>
              <a:t> </a:t>
            </a:r>
            <a:r>
              <a:rPr lang="de-DE" sz="2000" dirty="0" err="1">
                <a:solidFill>
                  <a:schemeClr val="bg1"/>
                </a:solidFill>
              </a:rPr>
              <a:t>Bajec</a:t>
            </a:r>
            <a:r>
              <a:rPr lang="de-DE" sz="2000" dirty="0">
                <a:solidFill>
                  <a:schemeClr val="bg1"/>
                </a:solidFill>
              </a:rPr>
              <a:t> | </a:t>
            </a:r>
            <a:r>
              <a:rPr lang="de-DE" sz="2000" dirty="0" err="1">
                <a:solidFill>
                  <a:schemeClr val="bg1"/>
                </a:solidFill>
              </a:rPr>
              <a:t>izredni</a:t>
            </a:r>
            <a:r>
              <a:rPr lang="de-DE" sz="2000" dirty="0">
                <a:solidFill>
                  <a:schemeClr val="bg1"/>
                </a:solidFill>
              </a:rPr>
              <a:t> </a:t>
            </a:r>
            <a:r>
              <a:rPr lang="de-DE" sz="2000" dirty="0" err="1">
                <a:solidFill>
                  <a:schemeClr val="bg1"/>
                </a:solidFill>
              </a:rPr>
              <a:t>professor</a:t>
            </a:r>
            <a:r>
              <a:rPr lang="de-DE" sz="2000" dirty="0">
                <a:solidFill>
                  <a:schemeClr val="bg1"/>
                </a:solidFill>
              </a:rPr>
              <a:t> | </a:t>
            </a:r>
            <a:r>
              <a:rPr lang="de-DE" sz="2000" dirty="0" err="1">
                <a:solidFill>
                  <a:schemeClr val="bg1"/>
                </a:solidFill>
              </a:rPr>
              <a:t>mento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068" name="Rectangle 1061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59921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69" name="Rectangle 1063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029" y="4546920"/>
            <a:ext cx="3977640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70876EC-0C76-110D-C1CA-54E2E043E4D4}"/>
              </a:ext>
            </a:extLst>
          </p:cNvPr>
          <p:cNvSpPr/>
          <p:nvPr/>
        </p:nvSpPr>
        <p:spPr>
          <a:xfrm>
            <a:off x="370114" y="468086"/>
            <a:ext cx="1099457" cy="346563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87149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9971346" y="-596384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10322479" y="-1695201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10275139" y="-561344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10514865" y="-1539414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10858399" y="-1255161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872994" y="1319095"/>
            <a:ext cx="1916935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46A38"/>
                </a:solidFill>
              </a:rPr>
              <a:t>Shepherd </a:t>
            </a:r>
            <a:r>
              <a:rPr lang="de-DE" sz="1600" b="1" dirty="0" err="1">
                <a:solidFill>
                  <a:srgbClr val="046A38"/>
                </a:solidFill>
              </a:rPr>
              <a:t>Behaviour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56864" y="685274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/>
              <a:t>Model Description – </a:t>
            </a:r>
            <a:r>
              <a:rPr lang="de-DE" dirty="0" err="1"/>
              <a:t>Behaviou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Shepherd</a:t>
            </a:r>
          </a:p>
        </p:txBody>
      </p:sp>
      <p:graphicFrame>
        <p:nvGraphicFramePr>
          <p:cNvPr id="31" name="Diagramm 30">
            <a:extLst>
              <a:ext uri="{FF2B5EF4-FFF2-40B4-BE49-F238E27FC236}">
                <a16:creationId xmlns:a16="http://schemas.microsoft.com/office/drawing/2014/main" id="{79E2F5BB-7DEE-DDE3-64E0-3EA8495E2D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2376448"/>
              </p:ext>
            </p:extLst>
          </p:nvPr>
        </p:nvGraphicFramePr>
        <p:xfrm>
          <a:off x="4880118" y="2023169"/>
          <a:ext cx="6157996" cy="29562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33" name="Grafik 32">
            <a:extLst>
              <a:ext uri="{FF2B5EF4-FFF2-40B4-BE49-F238E27FC236}">
                <a16:creationId xmlns:a16="http://schemas.microsoft.com/office/drawing/2014/main" id="{43322946-35CD-0361-3190-CA074111757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80118" y="4841460"/>
            <a:ext cx="5601629" cy="552566"/>
          </a:xfrm>
          <a:prstGeom prst="rect">
            <a:avLst/>
          </a:prstGeom>
        </p:spPr>
      </p:pic>
      <p:sp>
        <p:nvSpPr>
          <p:cNvPr id="38" name="Pfeil: nach rechts 37">
            <a:extLst>
              <a:ext uri="{FF2B5EF4-FFF2-40B4-BE49-F238E27FC236}">
                <a16:creationId xmlns:a16="http://schemas.microsoft.com/office/drawing/2014/main" id="{8D79201D-EFDE-BCA4-6B55-F22FD3C8DA7C}"/>
              </a:ext>
            </a:extLst>
          </p:cNvPr>
          <p:cNvSpPr/>
          <p:nvPr/>
        </p:nvSpPr>
        <p:spPr bwMode="gray">
          <a:xfrm>
            <a:off x="1012371" y="2096516"/>
            <a:ext cx="2100171" cy="678497"/>
          </a:xfrm>
          <a:prstGeom prst="rightArrow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de-DE" sz="1600" b="1" dirty="0">
                <a:solidFill>
                  <a:schemeClr val="bg1"/>
                </a:solidFill>
              </a:rPr>
              <a:t>Goal</a:t>
            </a:r>
          </a:p>
        </p:txBody>
      </p:sp>
      <p:sp>
        <p:nvSpPr>
          <p:cNvPr id="39" name="Pfeil: nach rechts 38">
            <a:extLst>
              <a:ext uri="{FF2B5EF4-FFF2-40B4-BE49-F238E27FC236}">
                <a16:creationId xmlns:a16="http://schemas.microsoft.com/office/drawing/2014/main" id="{EEB9BFC7-5B27-9FD5-0734-20D86F11AF6E}"/>
              </a:ext>
            </a:extLst>
          </p:cNvPr>
          <p:cNvSpPr/>
          <p:nvPr/>
        </p:nvSpPr>
        <p:spPr bwMode="gray">
          <a:xfrm>
            <a:off x="1012371" y="3501302"/>
            <a:ext cx="2100171" cy="678497"/>
          </a:xfrm>
          <a:prstGeom prst="rightArrow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de-DE" sz="1600" b="1" dirty="0" err="1">
                <a:solidFill>
                  <a:schemeClr val="bg1"/>
                </a:solidFill>
              </a:rPr>
              <a:t>Conditions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40" name="Pfeil: nach rechts 39">
            <a:extLst>
              <a:ext uri="{FF2B5EF4-FFF2-40B4-BE49-F238E27FC236}">
                <a16:creationId xmlns:a16="http://schemas.microsoft.com/office/drawing/2014/main" id="{1C6122EE-11D0-BD89-349D-9B7245D338E6}"/>
              </a:ext>
            </a:extLst>
          </p:cNvPr>
          <p:cNvSpPr/>
          <p:nvPr/>
        </p:nvSpPr>
        <p:spPr bwMode="gray">
          <a:xfrm>
            <a:off x="1012371" y="4906088"/>
            <a:ext cx="2100171" cy="678497"/>
          </a:xfrm>
          <a:prstGeom prst="rightArrow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de-DE" sz="1600" b="1" dirty="0" err="1">
                <a:solidFill>
                  <a:schemeClr val="bg1"/>
                </a:solidFill>
              </a:rPr>
              <a:t>Objective</a:t>
            </a:r>
            <a:r>
              <a:rPr lang="de-DE" sz="1600" b="1" dirty="0">
                <a:solidFill>
                  <a:schemeClr val="bg1"/>
                </a:solidFill>
              </a:rPr>
              <a:t> </a:t>
            </a:r>
            <a:r>
              <a:rPr lang="de-DE" sz="1600" b="1" dirty="0" err="1">
                <a:solidFill>
                  <a:schemeClr val="bg1"/>
                </a:solidFill>
              </a:rPr>
              <a:t>Function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F36ABF0-8C14-E8DD-E350-1EB2DA3F2DBC}"/>
              </a:ext>
            </a:extLst>
          </p:cNvPr>
          <p:cNvSpPr/>
          <p:nvPr/>
        </p:nvSpPr>
        <p:spPr bwMode="gray">
          <a:xfrm>
            <a:off x="5000328" y="3548742"/>
            <a:ext cx="1534886" cy="845469"/>
          </a:xfrm>
          <a:prstGeom prst="rect">
            <a:avLst/>
          </a:prstGeom>
          <a:solidFill>
            <a:srgbClr val="26890D">
              <a:alpha val="33000"/>
            </a:srgbClr>
          </a:solidFill>
          <a:ln w="19050" algn="ctr">
            <a:solidFill>
              <a:srgbClr val="26890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403614F-4A78-24EB-B07B-C857ECA79B0D}"/>
              </a:ext>
            </a:extLst>
          </p:cNvPr>
          <p:cNvSpPr/>
          <p:nvPr/>
        </p:nvSpPr>
        <p:spPr bwMode="gray">
          <a:xfrm>
            <a:off x="6008914" y="4906087"/>
            <a:ext cx="1328057" cy="487939"/>
          </a:xfrm>
          <a:prstGeom prst="rect">
            <a:avLst/>
          </a:prstGeom>
          <a:solidFill>
            <a:srgbClr val="26890D">
              <a:alpha val="33000"/>
            </a:srgbClr>
          </a:solidFill>
          <a:ln w="19050" algn="ctr">
            <a:solidFill>
              <a:srgbClr val="26890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2E6F99B7-A3D1-E830-EC06-6147F3A6275E}"/>
              </a:ext>
            </a:extLst>
          </p:cNvPr>
          <p:cNvSpPr/>
          <p:nvPr/>
        </p:nvSpPr>
        <p:spPr bwMode="gray">
          <a:xfrm>
            <a:off x="7191673" y="3548742"/>
            <a:ext cx="1534886" cy="845469"/>
          </a:xfrm>
          <a:prstGeom prst="rect">
            <a:avLst/>
          </a:prstGeom>
          <a:solidFill>
            <a:srgbClr val="0D8390">
              <a:alpha val="33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5359745C-4FE4-BC79-1EFD-8FD065AFDAEC}"/>
              </a:ext>
            </a:extLst>
          </p:cNvPr>
          <p:cNvSpPr/>
          <p:nvPr/>
        </p:nvSpPr>
        <p:spPr bwMode="gray">
          <a:xfrm>
            <a:off x="7565572" y="4906087"/>
            <a:ext cx="1160988" cy="487939"/>
          </a:xfrm>
          <a:prstGeom prst="rect">
            <a:avLst/>
          </a:prstGeom>
          <a:solidFill>
            <a:srgbClr val="0D8390">
              <a:alpha val="33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939BC81F-3A2B-8F1E-1DA5-C43C9B448FDC}"/>
              </a:ext>
            </a:extLst>
          </p:cNvPr>
          <p:cNvSpPr/>
          <p:nvPr/>
        </p:nvSpPr>
        <p:spPr bwMode="gray">
          <a:xfrm>
            <a:off x="8904514" y="4906087"/>
            <a:ext cx="1596255" cy="487939"/>
          </a:xfrm>
          <a:prstGeom prst="rect">
            <a:avLst/>
          </a:prstGeom>
          <a:solidFill>
            <a:srgbClr val="E3E48D">
              <a:alpha val="33000"/>
            </a:srgbClr>
          </a:solidFill>
          <a:ln w="19050" algn="ctr">
            <a:solidFill>
              <a:srgbClr val="E3E48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232437A-4C9C-BEFF-089A-CF797924E7E9}"/>
              </a:ext>
            </a:extLst>
          </p:cNvPr>
          <p:cNvSpPr/>
          <p:nvPr/>
        </p:nvSpPr>
        <p:spPr bwMode="gray">
          <a:xfrm>
            <a:off x="9166312" y="3548742"/>
            <a:ext cx="2043776" cy="973280"/>
          </a:xfrm>
          <a:prstGeom prst="rect">
            <a:avLst/>
          </a:prstGeom>
          <a:solidFill>
            <a:srgbClr val="E3E48D">
              <a:alpha val="33000"/>
            </a:srgbClr>
          </a:solidFill>
          <a:ln w="19050" algn="ctr">
            <a:solidFill>
              <a:srgbClr val="E3E48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8D864F50-BB06-AAFE-6D95-1BDE5D2C08AE}"/>
                  </a:ext>
                </a:extLst>
              </p:cNvPr>
              <p:cNvSpPr txBox="1"/>
              <p:nvPr/>
            </p:nvSpPr>
            <p:spPr>
              <a:xfrm>
                <a:off x="5000328" y="5721534"/>
                <a:ext cx="282667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:r>
                  <a:rPr lang="de-DE" b="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W</a:t>
                </a:r>
                <a:r>
                  <a:rPr lang="de-DE" b="0" baseline="-2500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mean</a:t>
                </a:r>
                <a:r>
                  <a:rPr lang="de-DE" b="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, W</a:t>
                </a:r>
                <a:r>
                  <a:rPr lang="de-DE" baseline="-2500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std</a:t>
                </a:r>
                <a:r>
                  <a:rPr lang="de-DE" b="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, W</a:t>
                </a:r>
                <a:r>
                  <a:rPr lang="de-DE" baseline="-2500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col</a:t>
                </a:r>
                <a14:m>
                  <m:oMath xmlns:m="http://schemas.openxmlformats.org/officeDocument/2006/math"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𝑎𝑟𝑒</m:t>
                    </m:r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𝑤𝑒𝑖𝑔h𝑡𝑠</m:t>
                    </m:r>
                  </m:oMath>
                </a14:m>
                <a:endParaRPr lang="de-DE" dirty="0">
                  <a:solidFill>
                    <a:srgbClr val="313131"/>
                  </a:solidFill>
                </a:endParaRPr>
              </a:p>
            </p:txBody>
          </p:sp>
        </mc:Choice>
        <mc:Fallback xmlns="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8D864F50-BB06-AAFE-6D95-1BDE5D2C08A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00328" y="5721534"/>
                <a:ext cx="2826671" cy="276999"/>
              </a:xfrm>
              <a:prstGeom prst="rect">
                <a:avLst/>
              </a:prstGeom>
              <a:blipFill>
                <a:blip r:embed="rId10"/>
                <a:stretch>
                  <a:fillRect l="-4957" t="-28889" r="-3017" b="-5111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5512862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51" grpId="0" animBg="1"/>
      <p:bldP spid="54" grpId="0" animBg="1"/>
      <p:bldP spid="56" grpId="0" animBg="1"/>
      <p:bldP spid="57" grpId="0" animBg="1"/>
      <p:bldP spid="5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a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br>
              <a:rPr lang="de-DE"/>
            </a:br>
            <a:endParaRPr lang="de-DE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3808036"/>
            <a:ext cx="2160000" cy="3560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86BC25"/>
                </a:solidFill>
                <a:latin typeface="Calibri"/>
              </a:rPr>
              <a:t>Extens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3147023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hepherd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 err="1"/>
              <a:t>Findings</a:t>
            </a:r>
            <a:br>
              <a:rPr lang="de-DE" dirty="0"/>
            </a:b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A3DBA363-6E56-5B6E-B950-B4FBA0627617}"/>
              </a:ext>
            </a:extLst>
          </p:cNvPr>
          <p:cNvGrpSpPr/>
          <p:nvPr/>
        </p:nvGrpSpPr>
        <p:grpSpPr>
          <a:xfrm>
            <a:off x="2727084" y="1215812"/>
            <a:ext cx="7783011" cy="4753638"/>
            <a:chOff x="1797884" y="1215232"/>
            <a:chExt cx="7783011" cy="4753638"/>
          </a:xfrm>
        </p:grpSpPr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B28F2581-73C8-915D-7DE8-455BF5B4F28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797884" y="1215232"/>
              <a:ext cx="7783011" cy="4753638"/>
            </a:xfrm>
            <a:prstGeom prst="rect">
              <a:avLst/>
            </a:prstGeom>
          </p:spPr>
        </p:pic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5D168EE7-BE64-F879-9496-3DECB34EDE50}"/>
                </a:ext>
              </a:extLst>
            </p:cNvPr>
            <p:cNvSpPr/>
            <p:nvPr/>
          </p:nvSpPr>
          <p:spPr bwMode="gray">
            <a:xfrm>
              <a:off x="8067040" y="3139440"/>
              <a:ext cx="1513855" cy="2503328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de-DE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7" name="Pentagon 29">
            <a:extLst>
              <a:ext uri="{FF2B5EF4-FFF2-40B4-BE49-F238E27FC236}">
                <a16:creationId xmlns:a16="http://schemas.microsoft.com/office/drawing/2014/main" id="{144EF408-4ACF-FE78-6D51-99E30A8CCFB5}"/>
              </a:ext>
            </a:extLst>
          </p:cNvPr>
          <p:cNvSpPr/>
          <p:nvPr/>
        </p:nvSpPr>
        <p:spPr bwMode="gray">
          <a:xfrm>
            <a:off x="546559" y="2484832"/>
            <a:ext cx="2537939" cy="459886"/>
          </a:xfrm>
          <a:prstGeom prst="homePlate">
            <a:avLst/>
          </a:prstGeom>
          <a:solidFill>
            <a:srgbClr val="046A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/>
              <a:t>Droving</a:t>
            </a:r>
            <a:endParaRPr lang="de-DE" sz="1300" dirty="0"/>
          </a:p>
        </p:txBody>
      </p:sp>
      <p:sp>
        <p:nvSpPr>
          <p:cNvPr id="28" name="Pentagon 29">
            <a:extLst>
              <a:ext uri="{FF2B5EF4-FFF2-40B4-BE49-F238E27FC236}">
                <a16:creationId xmlns:a16="http://schemas.microsoft.com/office/drawing/2014/main" id="{8DA951FC-0CA6-737D-9C65-F8C3CACC50A0}"/>
              </a:ext>
            </a:extLst>
          </p:cNvPr>
          <p:cNvSpPr/>
          <p:nvPr/>
        </p:nvSpPr>
        <p:spPr bwMode="gray">
          <a:xfrm>
            <a:off x="546559" y="3873324"/>
            <a:ext cx="2537939" cy="459886"/>
          </a:xfrm>
          <a:prstGeom prst="homePlate">
            <a:avLst/>
          </a:prstGeom>
          <a:solidFill>
            <a:srgbClr val="046A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/>
              <a:t>Mustering</a:t>
            </a:r>
            <a:endParaRPr lang="de-DE" sz="1300" dirty="0"/>
          </a:p>
        </p:txBody>
      </p:sp>
      <p:sp>
        <p:nvSpPr>
          <p:cNvPr id="29" name="Pentagon 29">
            <a:extLst>
              <a:ext uri="{FF2B5EF4-FFF2-40B4-BE49-F238E27FC236}">
                <a16:creationId xmlns:a16="http://schemas.microsoft.com/office/drawing/2014/main" id="{21DE7C20-20F2-F11B-3FE7-0DA4F9F36928}"/>
              </a:ext>
            </a:extLst>
          </p:cNvPr>
          <p:cNvSpPr/>
          <p:nvPr/>
        </p:nvSpPr>
        <p:spPr bwMode="gray">
          <a:xfrm>
            <a:off x="546559" y="5033992"/>
            <a:ext cx="2537939" cy="459886"/>
          </a:xfrm>
          <a:prstGeom prst="homePlate">
            <a:avLst/>
          </a:prstGeom>
          <a:solidFill>
            <a:srgbClr val="046A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/>
              <a:t>Driving</a:t>
            </a:r>
            <a:endParaRPr lang="de-DE" sz="13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77690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hepherd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 err="1"/>
              <a:t>Videoexample</a:t>
            </a:r>
            <a:r>
              <a:rPr lang="de-DE" dirty="0"/>
              <a:t>: </a:t>
            </a:r>
            <a:r>
              <a:rPr lang="de-DE" dirty="0" err="1"/>
              <a:t>Droving</a:t>
            </a:r>
            <a:br>
              <a:rPr lang="de-DE" dirty="0"/>
            </a:b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pic>
        <p:nvPicPr>
          <p:cNvPr id="2" name="drovingplot">
            <a:hlinkClick r:id="" action="ppaction://media"/>
            <a:extLst>
              <a:ext uri="{FF2B5EF4-FFF2-40B4-BE49-F238E27FC236}">
                <a16:creationId xmlns:a16="http://schemas.microsoft.com/office/drawing/2014/main" id="{B1A27E17-BA45-DDD7-513A-2552B19939BE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75920" y="996380"/>
            <a:ext cx="11043920" cy="55219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54483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93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hepherd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 err="1"/>
              <a:t>Videoexample</a:t>
            </a:r>
            <a:r>
              <a:rPr lang="de-DE" dirty="0"/>
              <a:t>: </a:t>
            </a:r>
            <a:r>
              <a:rPr lang="de-DE" dirty="0" err="1"/>
              <a:t>Mustering</a:t>
            </a:r>
            <a:br>
              <a:rPr lang="de-DE" dirty="0"/>
            </a:b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pic>
        <p:nvPicPr>
          <p:cNvPr id="10" name="output_movie (1)">
            <a:hlinkClick r:id="" action="ppaction://media"/>
            <a:extLst>
              <a:ext uri="{FF2B5EF4-FFF2-40B4-BE49-F238E27FC236}">
                <a16:creationId xmlns:a16="http://schemas.microsoft.com/office/drawing/2014/main" id="{84BB9B66-6F5E-C3C8-54D8-F422B40167ED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25120" y="1127760"/>
            <a:ext cx="10698480" cy="53492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97172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934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hepherd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 err="1"/>
              <a:t>Videoexample</a:t>
            </a:r>
            <a:r>
              <a:rPr lang="de-DE" dirty="0"/>
              <a:t>: </a:t>
            </a:r>
            <a:r>
              <a:rPr lang="de-DE" dirty="0" err="1"/>
              <a:t>Driving</a:t>
            </a:r>
            <a:br>
              <a:rPr lang="de-DE" dirty="0"/>
            </a:b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pic>
        <p:nvPicPr>
          <p:cNvPr id="2" name="drivingplot">
            <a:hlinkClick r:id="" action="ppaction://media"/>
            <a:extLst>
              <a:ext uri="{FF2B5EF4-FFF2-40B4-BE49-F238E27FC236}">
                <a16:creationId xmlns:a16="http://schemas.microsoft.com/office/drawing/2014/main" id="{FA1FDCC5-6B79-41AD-CBD5-F40FD5D42772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294640" y="1008900"/>
            <a:ext cx="10646370" cy="54680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183184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96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a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verview</a:t>
            </a:r>
            <a:br>
              <a:rPr lang="de-DE" dirty="0"/>
            </a:br>
            <a:endParaRPr lang="de-DE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3808036"/>
            <a:ext cx="2160000" cy="3560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46A38"/>
                </a:solidFill>
                <a:latin typeface="Calibri"/>
              </a:rPr>
              <a:t>T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198099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7" name="Hexagon 74">
            <a:extLst>
              <a:ext uri="{FF2B5EF4-FFF2-40B4-BE49-F238E27FC236}">
                <a16:creationId xmlns:a16="http://schemas.microsoft.com/office/drawing/2014/main" id="{E2F8176D-B747-452F-D065-45513620ED20}"/>
              </a:ext>
            </a:extLst>
          </p:cNvPr>
          <p:cNvSpPr/>
          <p:nvPr/>
        </p:nvSpPr>
        <p:spPr bwMode="gray">
          <a:xfrm>
            <a:off x="1836703" y="1534265"/>
            <a:ext cx="2337923" cy="1997710"/>
          </a:xfrm>
          <a:prstGeom prst="hexagon">
            <a:avLst/>
          </a:prstGeom>
          <a:solidFill>
            <a:srgbClr val="0D839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4622988" y="2559537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D8390"/>
                </a:solidFill>
              </a:rPr>
              <a:t> 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9" name="Freihandform: Form 108">
            <a:extLst>
              <a:ext uri="{FF2B5EF4-FFF2-40B4-BE49-F238E27FC236}">
                <a16:creationId xmlns:a16="http://schemas.microsoft.com/office/drawing/2014/main" id="{F0BA4A35-13AD-4882-2EA3-0B84B8F36571}"/>
              </a:ext>
            </a:extLst>
          </p:cNvPr>
          <p:cNvSpPr/>
          <p:nvPr/>
        </p:nvSpPr>
        <p:spPr>
          <a:xfrm>
            <a:off x="3897232" y="3252254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chemeClr val="bg1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/>
              <a:t>Model </a:t>
            </a:r>
            <a:r>
              <a:rPr lang="de-DE" dirty="0" err="1"/>
              <a:t>Extensions</a:t>
            </a:r>
            <a:endParaRPr lang="de-DE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1D1C584-48C8-9E60-AF82-1FC5FDE43095}"/>
              </a:ext>
            </a:extLst>
          </p:cNvPr>
          <p:cNvSpPr txBox="1">
            <a:spLocks/>
          </p:cNvSpPr>
          <p:nvPr/>
        </p:nvSpPr>
        <p:spPr bwMode="gray">
          <a:xfrm>
            <a:off x="10121069" y="-632032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0" name="Group 134">
            <a:extLst>
              <a:ext uri="{FF2B5EF4-FFF2-40B4-BE49-F238E27FC236}">
                <a16:creationId xmlns:a16="http://schemas.microsoft.com/office/drawing/2014/main" id="{716D3267-EB0D-EF4E-667B-D3F0D0A6E3F6}"/>
              </a:ext>
            </a:extLst>
          </p:cNvPr>
          <p:cNvGrpSpPr/>
          <p:nvPr/>
        </p:nvGrpSpPr>
        <p:grpSpPr>
          <a:xfrm>
            <a:off x="10343752" y="-1599267"/>
            <a:ext cx="1598523" cy="2005765"/>
            <a:chOff x="6763077" y="1602865"/>
            <a:chExt cx="1598523" cy="2005765"/>
          </a:xfrm>
        </p:grpSpPr>
        <p:sp>
          <p:nvSpPr>
            <p:cNvPr id="11" name="Teardrop 135">
              <a:extLst>
                <a:ext uri="{FF2B5EF4-FFF2-40B4-BE49-F238E27FC236}">
                  <a16:creationId xmlns:a16="http://schemas.microsoft.com/office/drawing/2014/main" id="{01E1E537-E5B1-F9C9-F75A-6040394E28F6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Freeform 35">
              <a:extLst>
                <a:ext uri="{FF2B5EF4-FFF2-40B4-BE49-F238E27FC236}">
                  <a16:creationId xmlns:a16="http://schemas.microsoft.com/office/drawing/2014/main" id="{342E966E-E0B6-BAFE-8053-7B7D840516D3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Oval 138">
              <a:extLst>
                <a:ext uri="{FF2B5EF4-FFF2-40B4-BE49-F238E27FC236}">
                  <a16:creationId xmlns:a16="http://schemas.microsoft.com/office/drawing/2014/main" id="{6D5B0AA2-343A-1C7E-C76E-962217F150AC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4" name="Grafik 13" descr="Ambition mit einfarbiger Füllung">
            <a:extLst>
              <a:ext uri="{FF2B5EF4-FFF2-40B4-BE49-F238E27FC236}">
                <a16:creationId xmlns:a16="http://schemas.microsoft.com/office/drawing/2014/main" id="{8A869A74-2184-9A62-719A-CFEAA19163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08634" y="-1285227"/>
            <a:ext cx="792000" cy="792000"/>
          </a:xfrm>
          <a:prstGeom prst="rect">
            <a:avLst/>
          </a:prstGeom>
        </p:spPr>
      </p:pic>
      <p:pic>
        <p:nvPicPr>
          <p:cNvPr id="29" name="Grafik 28" descr="Schaf mit einfarbiger Füllung">
            <a:extLst>
              <a:ext uri="{FF2B5EF4-FFF2-40B4-BE49-F238E27FC236}">
                <a16:creationId xmlns:a16="http://schemas.microsoft.com/office/drawing/2014/main" id="{8E7CE5BC-87FA-316F-357A-8681B7DFBB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548464" y="1845528"/>
            <a:ext cx="914400" cy="914400"/>
          </a:xfrm>
          <a:prstGeom prst="rect">
            <a:avLst/>
          </a:prstGeom>
        </p:spPr>
      </p:pic>
      <p:pic>
        <p:nvPicPr>
          <p:cNvPr id="31" name="Grafik 30" descr="Schaf mit einfarbiger Füllung">
            <a:extLst>
              <a:ext uri="{FF2B5EF4-FFF2-40B4-BE49-F238E27FC236}">
                <a16:creationId xmlns:a16="http://schemas.microsoft.com/office/drawing/2014/main" id="{5C2E3F93-960A-71DC-6EE3-82105DDA170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815874" y="2229826"/>
            <a:ext cx="914400" cy="914400"/>
          </a:xfrm>
          <a:prstGeom prst="rect">
            <a:avLst/>
          </a:prstGeom>
        </p:spPr>
      </p:pic>
      <p:pic>
        <p:nvPicPr>
          <p:cNvPr id="33" name="Grafik 32" descr="Schaf mit einfarbiger Füllung">
            <a:extLst>
              <a:ext uri="{FF2B5EF4-FFF2-40B4-BE49-F238E27FC236}">
                <a16:creationId xmlns:a16="http://schemas.microsoft.com/office/drawing/2014/main" id="{7577E88E-E329-5F3B-6AB5-7283D2D8BCE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54427" y="2250594"/>
            <a:ext cx="914400" cy="914400"/>
          </a:xfrm>
          <a:prstGeom prst="rect">
            <a:avLst/>
          </a:prstGeom>
        </p:spPr>
      </p:pic>
      <p:pic>
        <p:nvPicPr>
          <p:cNvPr id="38" name="Grafik 37" descr="Zaun mit einfarbiger Füllung">
            <a:extLst>
              <a:ext uri="{FF2B5EF4-FFF2-40B4-BE49-F238E27FC236}">
                <a16:creationId xmlns:a16="http://schemas.microsoft.com/office/drawing/2014/main" id="{2E48D220-2761-5CE2-28C1-14B3168D7B1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091264" y="2455232"/>
            <a:ext cx="914400" cy="914400"/>
          </a:xfrm>
          <a:prstGeom prst="rect">
            <a:avLst/>
          </a:prstGeom>
        </p:spPr>
      </p:pic>
      <p:pic>
        <p:nvPicPr>
          <p:cNvPr id="40" name="Grafik 39" descr="Zaun mit einfarbiger Füllung">
            <a:extLst>
              <a:ext uri="{FF2B5EF4-FFF2-40B4-BE49-F238E27FC236}">
                <a16:creationId xmlns:a16="http://schemas.microsoft.com/office/drawing/2014/main" id="{21A284CD-BF51-73F1-31A5-F3E0EAD2C2C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56460" y="2455232"/>
            <a:ext cx="914400" cy="914400"/>
          </a:xfrm>
          <a:prstGeom prst="rect">
            <a:avLst/>
          </a:prstGeom>
        </p:spPr>
      </p:pic>
      <p:sp>
        <p:nvSpPr>
          <p:cNvPr id="41" name="Rectangle 78">
            <a:extLst>
              <a:ext uri="{FF2B5EF4-FFF2-40B4-BE49-F238E27FC236}">
                <a16:creationId xmlns:a16="http://schemas.microsoft.com/office/drawing/2014/main" id="{FE7C0328-569D-4FF6-EFE2-F5C1D8CFBD55}"/>
              </a:ext>
            </a:extLst>
          </p:cNvPr>
          <p:cNvSpPr/>
          <p:nvPr/>
        </p:nvSpPr>
        <p:spPr>
          <a:xfrm>
            <a:off x="2672450" y="1183055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Fence </a:t>
            </a:r>
          </a:p>
        </p:txBody>
      </p:sp>
      <p:sp>
        <p:nvSpPr>
          <p:cNvPr id="42" name="Hexagon 74">
            <a:extLst>
              <a:ext uri="{FF2B5EF4-FFF2-40B4-BE49-F238E27FC236}">
                <a16:creationId xmlns:a16="http://schemas.microsoft.com/office/drawing/2014/main" id="{9DB6B5AD-BEC3-DD7E-605C-7F82370CA033}"/>
              </a:ext>
            </a:extLst>
          </p:cNvPr>
          <p:cNvSpPr/>
          <p:nvPr/>
        </p:nvSpPr>
        <p:spPr bwMode="gray">
          <a:xfrm>
            <a:off x="6697531" y="1534265"/>
            <a:ext cx="2337923" cy="1997710"/>
          </a:xfrm>
          <a:prstGeom prst="hexagon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43" name="Grafik 42" descr="Hund mit einfarbiger Füllung">
            <a:extLst>
              <a:ext uri="{FF2B5EF4-FFF2-40B4-BE49-F238E27FC236}">
                <a16:creationId xmlns:a16="http://schemas.microsoft.com/office/drawing/2014/main" id="{543B92FA-8FF3-07CA-B86A-2D61CF706D1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303515" y="1869491"/>
            <a:ext cx="914400" cy="914400"/>
          </a:xfrm>
          <a:prstGeom prst="rect">
            <a:avLst/>
          </a:prstGeom>
        </p:spPr>
      </p:pic>
      <p:pic>
        <p:nvPicPr>
          <p:cNvPr id="44" name="Grafik 43" descr="Hund mit einfarbiger Füllung">
            <a:extLst>
              <a:ext uri="{FF2B5EF4-FFF2-40B4-BE49-F238E27FC236}">
                <a16:creationId xmlns:a16="http://schemas.microsoft.com/office/drawing/2014/main" id="{7BEEFDFC-D7C0-B8A6-585A-DC1E2DFF522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547990" y="2261841"/>
            <a:ext cx="914400" cy="914400"/>
          </a:xfrm>
          <a:prstGeom prst="rect">
            <a:avLst/>
          </a:prstGeom>
        </p:spPr>
      </p:pic>
      <p:sp>
        <p:nvSpPr>
          <p:cNvPr id="45" name="Rectangle 78">
            <a:extLst>
              <a:ext uri="{FF2B5EF4-FFF2-40B4-BE49-F238E27FC236}">
                <a16:creationId xmlns:a16="http://schemas.microsoft.com/office/drawing/2014/main" id="{6ABA3660-A532-E6B9-5B79-0FB628765CFF}"/>
              </a:ext>
            </a:extLst>
          </p:cNvPr>
          <p:cNvSpPr/>
          <p:nvPr/>
        </p:nvSpPr>
        <p:spPr>
          <a:xfrm>
            <a:off x="7051390" y="1183055"/>
            <a:ext cx="282199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46A38"/>
                </a:solidFill>
              </a:rPr>
              <a:t>Second </a:t>
            </a:r>
            <a:r>
              <a:rPr lang="de-DE" sz="1600" b="1" dirty="0" err="1">
                <a:solidFill>
                  <a:srgbClr val="046A38"/>
                </a:solidFill>
              </a:rPr>
              <a:t>shepherd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47" name="Rectangle 79">
            <a:extLst>
              <a:ext uri="{FF2B5EF4-FFF2-40B4-BE49-F238E27FC236}">
                <a16:creationId xmlns:a16="http://schemas.microsoft.com/office/drawing/2014/main" id="{FBECF220-E6F1-2EAB-99A8-9FE44FB50BCA}"/>
              </a:ext>
            </a:extLst>
          </p:cNvPr>
          <p:cNvSpPr/>
          <p:nvPr/>
        </p:nvSpPr>
        <p:spPr>
          <a:xfrm>
            <a:off x="1529761" y="4049033"/>
            <a:ext cx="341815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z="1600" b="1" dirty="0" err="1">
                <a:solidFill>
                  <a:prstClr val="black"/>
                </a:solidFill>
              </a:rPr>
              <a:t>Required</a:t>
            </a:r>
            <a:r>
              <a:rPr lang="de-DE" sz="1600" b="1" dirty="0">
                <a:solidFill>
                  <a:prstClr val="black"/>
                </a:solidFill>
              </a:rPr>
              <a:t> </a:t>
            </a:r>
            <a:r>
              <a:rPr lang="de-DE" sz="1600" b="1" dirty="0" err="1">
                <a:solidFill>
                  <a:prstClr val="black"/>
                </a:solidFill>
              </a:rPr>
              <a:t>modifications</a:t>
            </a:r>
            <a:r>
              <a:rPr lang="de-DE" sz="1600" b="1" dirty="0">
                <a:solidFill>
                  <a:prstClr val="black"/>
                </a:solidFill>
              </a:rPr>
              <a:t>: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dirty="0">
                <a:solidFill>
                  <a:prstClr val="black"/>
                </a:solidFill>
              </a:rPr>
              <a:t>Min/</a:t>
            </a:r>
            <a:r>
              <a:rPr lang="de-DE" sz="1600" dirty="0" err="1">
                <a:solidFill>
                  <a:prstClr val="black"/>
                </a:solidFill>
              </a:rPr>
              <a:t>max</a:t>
            </a:r>
            <a:r>
              <a:rPr lang="de-DE" sz="1600" dirty="0">
                <a:solidFill>
                  <a:prstClr val="black"/>
                </a:solidFill>
              </a:rPr>
              <a:t>  x and y </a:t>
            </a:r>
            <a:r>
              <a:rPr lang="de-DE" sz="1600" dirty="0" err="1">
                <a:solidFill>
                  <a:prstClr val="black"/>
                </a:solidFill>
              </a:rPr>
              <a:t>coordinates</a:t>
            </a: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z="1600" b="1" dirty="0">
                <a:solidFill>
                  <a:prstClr val="black"/>
                </a:solidFill>
              </a:rPr>
              <a:t>Potential </a:t>
            </a:r>
            <a:r>
              <a:rPr lang="de-DE" sz="1600" b="1" dirty="0" err="1">
                <a:solidFill>
                  <a:prstClr val="black"/>
                </a:solidFill>
              </a:rPr>
              <a:t>future</a:t>
            </a:r>
            <a:r>
              <a:rPr lang="de-DE" sz="1600" b="1" dirty="0">
                <a:solidFill>
                  <a:prstClr val="black"/>
                </a:solidFill>
              </a:rPr>
              <a:t> Extens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dirty="0" err="1">
                <a:solidFill>
                  <a:prstClr val="black"/>
                </a:solidFill>
              </a:rPr>
              <a:t>Actual</a:t>
            </a:r>
            <a:r>
              <a:rPr lang="de-DE" sz="1600" dirty="0">
                <a:solidFill>
                  <a:prstClr val="black"/>
                </a:solidFill>
              </a:rPr>
              <a:t> r</a:t>
            </a: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pulsion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ce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rom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ence</a:t>
            </a: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" name="Rectangle 79">
            <a:extLst>
              <a:ext uri="{FF2B5EF4-FFF2-40B4-BE49-F238E27FC236}">
                <a16:creationId xmlns:a16="http://schemas.microsoft.com/office/drawing/2014/main" id="{14849DD2-A8AE-D96B-8038-D4FAD3AB65DB}"/>
              </a:ext>
            </a:extLst>
          </p:cNvPr>
          <p:cNvSpPr/>
          <p:nvPr/>
        </p:nvSpPr>
        <p:spPr>
          <a:xfrm>
            <a:off x="6284812" y="4049033"/>
            <a:ext cx="456606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de-DE" sz="1600" b="1" dirty="0" err="1">
                <a:solidFill>
                  <a:prstClr val="black"/>
                </a:solidFill>
              </a:rPr>
              <a:t>Required</a:t>
            </a:r>
            <a:r>
              <a:rPr lang="de-DE" sz="1600" b="1" dirty="0">
                <a:solidFill>
                  <a:prstClr val="black"/>
                </a:solidFill>
              </a:rPr>
              <a:t> </a:t>
            </a:r>
            <a:r>
              <a:rPr lang="de-DE" sz="1600" b="1" dirty="0" err="1">
                <a:solidFill>
                  <a:prstClr val="black"/>
                </a:solidFill>
              </a:rPr>
              <a:t>modifications</a:t>
            </a:r>
            <a:r>
              <a:rPr lang="de-DE" sz="1600" b="1" dirty="0">
                <a:solidFill>
                  <a:prstClr val="black"/>
                </a:solidFill>
              </a:rPr>
              <a:t>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Repulsion </a:t>
            </a:r>
            <a:r>
              <a:rPr kumimoji="0" lang="de-DE" sz="160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between</a:t>
            </a:r>
            <a:r>
              <a:rPr kumimoji="0" lang="de-DE" sz="16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60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hepherds</a:t>
            </a:r>
            <a:endParaRPr kumimoji="0" lang="de-DE" sz="1600" i="0" u="none" strike="noStrike" kern="1200" cap="none" spc="0" normalizeH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noProof="0" dirty="0">
                <a:solidFill>
                  <a:prstClr val="black"/>
                </a:solidFill>
              </a:rPr>
              <a:t>Repulsion </a:t>
            </a:r>
            <a:r>
              <a:rPr lang="de-DE" sz="1600" noProof="0" dirty="0" err="1">
                <a:solidFill>
                  <a:prstClr val="black"/>
                </a:solidFill>
              </a:rPr>
              <a:t>of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agents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as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sum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of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each</a:t>
            </a:r>
            <a:r>
              <a:rPr lang="de-DE" sz="1600" noProof="0" dirty="0">
                <a:solidFill>
                  <a:prstClr val="black"/>
                </a:solidFill>
              </a:rPr>
              <a:t> individual </a:t>
            </a:r>
            <a:r>
              <a:rPr lang="de-DE" sz="1600" noProof="0" dirty="0" err="1">
                <a:solidFill>
                  <a:prstClr val="black"/>
                </a:solidFill>
              </a:rPr>
              <a:t>shepheards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repulsion</a:t>
            </a:r>
            <a:endParaRPr lang="de-DE" sz="1600" noProof="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de-DE" sz="1600" dirty="0">
              <a:solidFill>
                <a:prstClr val="black"/>
              </a:solidFill>
            </a:endParaRPr>
          </a:p>
          <a:p>
            <a:pPr lvl="0">
              <a:defRPr/>
            </a:pPr>
            <a:r>
              <a:rPr lang="de-DE" sz="1600" b="1" dirty="0">
                <a:solidFill>
                  <a:prstClr val="black"/>
                </a:solidFill>
              </a:rPr>
              <a:t>Potential </a:t>
            </a:r>
            <a:r>
              <a:rPr lang="de-DE" sz="1600" b="1" dirty="0" err="1">
                <a:solidFill>
                  <a:prstClr val="black"/>
                </a:solidFill>
              </a:rPr>
              <a:t>future</a:t>
            </a:r>
            <a:r>
              <a:rPr lang="de-DE" sz="1600" b="1" dirty="0">
                <a:solidFill>
                  <a:prstClr val="black"/>
                </a:solidFill>
              </a:rPr>
              <a:t> </a:t>
            </a:r>
            <a:r>
              <a:rPr lang="de-DE" sz="1600" b="1" dirty="0" err="1">
                <a:solidFill>
                  <a:prstClr val="black"/>
                </a:solidFill>
              </a:rPr>
              <a:t>extension</a:t>
            </a:r>
            <a:endParaRPr lang="de-DE" sz="1600" b="1" dirty="0">
              <a:solidFill>
                <a:prstClr val="black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de-DE" sz="1600" dirty="0" err="1">
                <a:solidFill>
                  <a:prstClr val="black"/>
                </a:solidFill>
              </a:rPr>
              <a:t>Enable</a:t>
            </a:r>
            <a:r>
              <a:rPr lang="de-DE" sz="1600" dirty="0">
                <a:solidFill>
                  <a:prstClr val="black"/>
                </a:solidFill>
              </a:rPr>
              <a:t> multiple </a:t>
            </a:r>
            <a:r>
              <a:rPr lang="de-DE" sz="1600" dirty="0" err="1">
                <a:solidFill>
                  <a:prstClr val="black"/>
                </a:solidFill>
              </a:rPr>
              <a:t>shephrds</a:t>
            </a:r>
            <a:endParaRPr lang="de-DE" sz="1600" noProof="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60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8847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  <p:bldP spid="45" grpId="0"/>
      <p:bldP spid="47" grpId="0"/>
      <p:bldP spid="48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verview</a:t>
            </a:r>
            <a:br>
              <a:rPr lang="de-DE" dirty="0"/>
            </a:br>
            <a:endParaRPr lang="de-DE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3808036"/>
            <a:ext cx="2160000" cy="3560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</a:t>
            </a: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93194424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 err="1"/>
              <a:t>Results</a:t>
            </a:r>
            <a:br>
              <a:rPr lang="de-DE" dirty="0"/>
            </a:br>
            <a:endParaRPr lang="de-DE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9DC2024-34BC-3B72-BFD7-14490A8C386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" name="Group 139">
            <a:extLst>
              <a:ext uri="{FF2B5EF4-FFF2-40B4-BE49-F238E27FC236}">
                <a16:creationId xmlns:a16="http://schemas.microsoft.com/office/drawing/2014/main" id="{55E8D3E9-385B-8FB9-78E1-46ED25D5C8BA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2" name="Teardrop 140">
              <a:extLst>
                <a:ext uri="{FF2B5EF4-FFF2-40B4-BE49-F238E27FC236}">
                  <a16:creationId xmlns:a16="http://schemas.microsoft.com/office/drawing/2014/main" id="{7E38ABC3-F9C8-7E30-0A06-59BD408FB9E1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39">
              <a:extLst>
                <a:ext uri="{FF2B5EF4-FFF2-40B4-BE49-F238E27FC236}">
                  <a16:creationId xmlns:a16="http://schemas.microsoft.com/office/drawing/2014/main" id="{8988E06E-4A18-F246-E8E5-DC9B1F9CEA8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" name="Group 925">
              <a:extLst>
                <a:ext uri="{FF2B5EF4-FFF2-40B4-BE49-F238E27FC236}">
                  <a16:creationId xmlns:a16="http://schemas.microsoft.com/office/drawing/2014/main" id="{4B88E82C-2687-9544-24CB-07226153E4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6" name="Freeform 926">
                <a:extLst>
                  <a:ext uri="{FF2B5EF4-FFF2-40B4-BE49-F238E27FC236}">
                    <a16:creationId xmlns:a16="http://schemas.microsoft.com/office/drawing/2014/main" id="{D4105ECE-72AC-B7D2-62F7-3B49AF697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" name="Freeform 927">
                <a:extLst>
                  <a:ext uri="{FF2B5EF4-FFF2-40B4-BE49-F238E27FC236}">
                    <a16:creationId xmlns:a16="http://schemas.microsoft.com/office/drawing/2014/main" id="{D997D6B2-E156-2B80-EB34-962498EB94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5" name="Oval 143">
              <a:extLst>
                <a:ext uri="{FF2B5EF4-FFF2-40B4-BE49-F238E27FC236}">
                  <a16:creationId xmlns:a16="http://schemas.microsoft.com/office/drawing/2014/main" id="{D95C0BA3-6A13-A41F-3CF6-10D42B9F9C2E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0" name="Freeform 872">
            <a:extLst>
              <a:ext uri="{FF2B5EF4-FFF2-40B4-BE49-F238E27FC236}">
                <a16:creationId xmlns:a16="http://schemas.microsoft.com/office/drawing/2014/main" id="{1F9F17E5-25AF-F685-6668-C446F441ABB6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" name="Rectangle 78">
            <a:extLst>
              <a:ext uri="{FF2B5EF4-FFF2-40B4-BE49-F238E27FC236}">
                <a16:creationId xmlns:a16="http://schemas.microsoft.com/office/drawing/2014/main" id="{918342BD-5E2C-01CA-60B7-8B4D9DDC0883}"/>
              </a:ext>
            </a:extLst>
          </p:cNvPr>
          <p:cNvSpPr/>
          <p:nvPr/>
        </p:nvSpPr>
        <p:spPr>
          <a:xfrm>
            <a:off x="2452532" y="1685013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 err="1"/>
              <a:t>Without</a:t>
            </a:r>
            <a:r>
              <a:rPr lang="de-DE" sz="1600" b="1" dirty="0"/>
              <a:t> Fence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23" name="Rectangle 78">
            <a:extLst>
              <a:ext uri="{FF2B5EF4-FFF2-40B4-BE49-F238E27FC236}">
                <a16:creationId xmlns:a16="http://schemas.microsoft.com/office/drawing/2014/main" id="{102BE184-A4DB-F3CC-D338-155B20FE7FD2}"/>
              </a:ext>
            </a:extLst>
          </p:cNvPr>
          <p:cNvSpPr/>
          <p:nvPr/>
        </p:nvSpPr>
        <p:spPr>
          <a:xfrm>
            <a:off x="8251448" y="1685013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 err="1"/>
              <a:t>With</a:t>
            </a:r>
            <a:r>
              <a:rPr lang="de-DE" sz="1600" b="1" dirty="0"/>
              <a:t> Fence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BA6AA1A0-AAFE-2DFF-17CA-F1670ACFB2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8507" y="2162467"/>
            <a:ext cx="5617340" cy="376547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7992E46B-B1F7-B48E-43CA-CFE370DD17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99545" y="2161437"/>
            <a:ext cx="5528267" cy="3712367"/>
          </a:xfrm>
          <a:prstGeom prst="rect">
            <a:avLst/>
          </a:prstGeom>
        </p:spPr>
      </p:pic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3913B138-1EAC-16B6-6484-0BD3777A61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Trajectory</a:t>
            </a:r>
            <a:r>
              <a:rPr lang="de-DE" dirty="0"/>
              <a:t> </a:t>
            </a:r>
            <a:r>
              <a:rPr lang="de-DE" dirty="0" err="1"/>
              <a:t>plot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8969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Ein Bild, das Säugetier, Schaf, draußen, Himmel enthält.&#10;&#10;Automatisch generierte Beschreibung">
            <a:extLst>
              <a:ext uri="{FF2B5EF4-FFF2-40B4-BE49-F238E27FC236}">
                <a16:creationId xmlns:a16="http://schemas.microsoft.com/office/drawing/2014/main" id="{EA4DC629-1293-B17B-696A-081BDEA564C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25" t="9091" r="24968" b="1"/>
          <a:stretch/>
        </p:blipFill>
        <p:spPr>
          <a:xfrm>
            <a:off x="3156857" y="10"/>
            <a:ext cx="9035143" cy="685799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DCBB8FB6-E719-E096-2886-43174433BCC7}"/>
              </a:ext>
            </a:extLst>
          </p:cNvPr>
          <p:cNvSpPr/>
          <p:nvPr/>
        </p:nvSpPr>
        <p:spPr>
          <a:xfrm>
            <a:off x="-10886" y="3"/>
            <a:ext cx="10414726" cy="6857989"/>
          </a:xfrm>
          <a:prstGeom prst="rect">
            <a:avLst/>
          </a:prstGeom>
          <a:gradFill flip="none" rotWithShape="1">
            <a:gsLst>
              <a:gs pos="38000">
                <a:schemeClr val="accent3">
                  <a:lumMod val="0"/>
                  <a:lumOff val="100000"/>
                </a:schemeClr>
              </a:gs>
              <a:gs pos="100000">
                <a:srgbClr val="FFFFFF">
                  <a:alpha val="0"/>
                </a:srgbClr>
              </a:gs>
              <a:gs pos="78000">
                <a:schemeClr val="bg1">
                  <a:alpha val="19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1AFF8405-AB67-6CDD-70D8-1B34064B7023}"/>
              </a:ext>
            </a:extLst>
          </p:cNvPr>
          <p:cNvSpPr txBox="1">
            <a:spLocks/>
          </p:cNvSpPr>
          <p:nvPr/>
        </p:nvSpPr>
        <p:spPr>
          <a:xfrm>
            <a:off x="477980" y="1635759"/>
            <a:ext cx="4642659" cy="197842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Optimal </a:t>
            </a:r>
            <a:r>
              <a:rPr lang="de-DE" dirty="0" err="1"/>
              <a:t>Shepherding</a:t>
            </a:r>
            <a:r>
              <a:rPr lang="de-DE" dirty="0"/>
              <a:t> </a:t>
            </a:r>
            <a:br>
              <a:rPr lang="de-DE" dirty="0"/>
            </a:br>
            <a:endParaRPr lang="de-DE" dirty="0"/>
          </a:p>
        </p:txBody>
      </p:sp>
      <p:sp>
        <p:nvSpPr>
          <p:cNvPr id="5" name="Untertitel 2">
            <a:extLst>
              <a:ext uri="{FF2B5EF4-FFF2-40B4-BE49-F238E27FC236}">
                <a16:creationId xmlns:a16="http://schemas.microsoft.com/office/drawing/2014/main" id="{7178983B-BC49-3245-F391-D15DA1BE485D}"/>
              </a:ext>
            </a:extLst>
          </p:cNvPr>
          <p:cNvSpPr txBox="1">
            <a:spLocks/>
          </p:cNvSpPr>
          <p:nvPr/>
        </p:nvSpPr>
        <p:spPr>
          <a:xfrm>
            <a:off x="477980" y="3386103"/>
            <a:ext cx="4023359" cy="120814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2000" dirty="0"/>
              <a:t>Franziska Weber</a:t>
            </a:r>
            <a:br>
              <a:rPr lang="de-DE" sz="2000" dirty="0"/>
            </a:br>
            <a:r>
              <a:rPr lang="de-DE" sz="2000" dirty="0"/>
              <a:t>Franz Muszarsky</a:t>
            </a:r>
            <a:br>
              <a:rPr lang="de-DE" sz="2000" dirty="0"/>
            </a:br>
            <a:r>
              <a:rPr lang="de-DE" sz="2000" dirty="0"/>
              <a:t>Kimberley Fring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A2BCAE0-6508-CBF3-A393-95F642DD42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7469" y="122090"/>
            <a:ext cx="1609950" cy="1000265"/>
          </a:xfrm>
          <a:prstGeom prst="rect">
            <a:avLst/>
          </a:prstGeom>
        </p:spPr>
      </p:pic>
      <p:sp>
        <p:nvSpPr>
          <p:cNvPr id="9" name="Untertitel 2">
            <a:extLst>
              <a:ext uri="{FF2B5EF4-FFF2-40B4-BE49-F238E27FC236}">
                <a16:creationId xmlns:a16="http://schemas.microsoft.com/office/drawing/2014/main" id="{93129565-80FD-E2AD-FB90-242AB301947B}"/>
              </a:ext>
            </a:extLst>
          </p:cNvPr>
          <p:cNvSpPr txBox="1">
            <a:spLocks/>
          </p:cNvSpPr>
          <p:nvPr/>
        </p:nvSpPr>
        <p:spPr>
          <a:xfrm>
            <a:off x="477980" y="5771938"/>
            <a:ext cx="4023359" cy="120814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dirty="0"/>
              <a:t>Collective </a:t>
            </a:r>
            <a:r>
              <a:rPr lang="de-DE" sz="1600" dirty="0" err="1"/>
              <a:t>Behaviour</a:t>
            </a:r>
            <a:endParaRPr lang="de-DE" sz="1600" dirty="0"/>
          </a:p>
          <a:p>
            <a:pPr marL="0" indent="0">
              <a:buNone/>
            </a:pPr>
            <a:r>
              <a:rPr lang="de-DE" sz="1600" dirty="0" err="1"/>
              <a:t>Iztok</a:t>
            </a:r>
            <a:r>
              <a:rPr lang="de-DE" sz="1600" dirty="0"/>
              <a:t> </a:t>
            </a:r>
            <a:r>
              <a:rPr lang="de-DE" sz="1600" dirty="0" err="1"/>
              <a:t>Lebar</a:t>
            </a:r>
            <a:r>
              <a:rPr lang="de-DE" sz="1600" dirty="0"/>
              <a:t> </a:t>
            </a:r>
            <a:r>
              <a:rPr lang="de-DE" sz="1600" dirty="0" err="1"/>
              <a:t>Bajec</a:t>
            </a:r>
            <a:r>
              <a:rPr lang="de-DE" sz="1600" dirty="0"/>
              <a:t> | </a:t>
            </a:r>
            <a:r>
              <a:rPr lang="de-DE" sz="1600" dirty="0" err="1"/>
              <a:t>izredni</a:t>
            </a:r>
            <a:r>
              <a:rPr lang="de-DE" sz="1600" dirty="0"/>
              <a:t> </a:t>
            </a:r>
            <a:r>
              <a:rPr lang="de-DE" sz="1600" dirty="0" err="1"/>
              <a:t>professor</a:t>
            </a:r>
            <a:r>
              <a:rPr lang="de-DE" sz="1600" dirty="0"/>
              <a:t> | </a:t>
            </a:r>
            <a:r>
              <a:rPr lang="de-DE" sz="1600" dirty="0" err="1"/>
              <a:t>mentor</a:t>
            </a: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3835831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 err="1"/>
              <a:t>Results</a:t>
            </a:r>
            <a:br>
              <a:rPr lang="de-DE" dirty="0"/>
            </a:br>
            <a:endParaRPr lang="de-DE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9DC2024-34BC-3B72-BFD7-14490A8C386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" name="Group 139">
            <a:extLst>
              <a:ext uri="{FF2B5EF4-FFF2-40B4-BE49-F238E27FC236}">
                <a16:creationId xmlns:a16="http://schemas.microsoft.com/office/drawing/2014/main" id="{55E8D3E9-385B-8FB9-78E1-46ED25D5C8BA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2" name="Teardrop 140">
              <a:extLst>
                <a:ext uri="{FF2B5EF4-FFF2-40B4-BE49-F238E27FC236}">
                  <a16:creationId xmlns:a16="http://schemas.microsoft.com/office/drawing/2014/main" id="{7E38ABC3-F9C8-7E30-0A06-59BD408FB9E1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39">
              <a:extLst>
                <a:ext uri="{FF2B5EF4-FFF2-40B4-BE49-F238E27FC236}">
                  <a16:creationId xmlns:a16="http://schemas.microsoft.com/office/drawing/2014/main" id="{8988E06E-4A18-F246-E8E5-DC9B1F9CEA8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" name="Group 925">
              <a:extLst>
                <a:ext uri="{FF2B5EF4-FFF2-40B4-BE49-F238E27FC236}">
                  <a16:creationId xmlns:a16="http://schemas.microsoft.com/office/drawing/2014/main" id="{4B88E82C-2687-9544-24CB-07226153E4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6" name="Freeform 926">
                <a:extLst>
                  <a:ext uri="{FF2B5EF4-FFF2-40B4-BE49-F238E27FC236}">
                    <a16:creationId xmlns:a16="http://schemas.microsoft.com/office/drawing/2014/main" id="{D4105ECE-72AC-B7D2-62F7-3B49AF697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" name="Freeform 927">
                <a:extLst>
                  <a:ext uri="{FF2B5EF4-FFF2-40B4-BE49-F238E27FC236}">
                    <a16:creationId xmlns:a16="http://schemas.microsoft.com/office/drawing/2014/main" id="{D997D6B2-E156-2B80-EB34-962498EB94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5" name="Oval 143">
              <a:extLst>
                <a:ext uri="{FF2B5EF4-FFF2-40B4-BE49-F238E27FC236}">
                  <a16:creationId xmlns:a16="http://schemas.microsoft.com/office/drawing/2014/main" id="{D95C0BA3-6A13-A41F-3CF6-10D42B9F9C2E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0" name="Freeform 872">
            <a:extLst>
              <a:ext uri="{FF2B5EF4-FFF2-40B4-BE49-F238E27FC236}">
                <a16:creationId xmlns:a16="http://schemas.microsoft.com/office/drawing/2014/main" id="{1F9F17E5-25AF-F685-6668-C446F441ABB6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" name="Rectangle 78">
            <a:extLst>
              <a:ext uri="{FF2B5EF4-FFF2-40B4-BE49-F238E27FC236}">
                <a16:creationId xmlns:a16="http://schemas.microsoft.com/office/drawing/2014/main" id="{918342BD-5E2C-01CA-60B7-8B4D9DDC0883}"/>
              </a:ext>
            </a:extLst>
          </p:cNvPr>
          <p:cNvSpPr/>
          <p:nvPr/>
        </p:nvSpPr>
        <p:spPr>
          <a:xfrm>
            <a:off x="2452532" y="1685013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noProof="0" dirty="0" err="1"/>
              <a:t>One</a:t>
            </a:r>
            <a:r>
              <a:rPr lang="de-DE" sz="1600" b="1" noProof="0" dirty="0"/>
              <a:t> Shepherd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23" name="Rectangle 78">
            <a:extLst>
              <a:ext uri="{FF2B5EF4-FFF2-40B4-BE49-F238E27FC236}">
                <a16:creationId xmlns:a16="http://schemas.microsoft.com/office/drawing/2014/main" id="{102BE184-A4DB-F3CC-D338-155B20FE7FD2}"/>
              </a:ext>
            </a:extLst>
          </p:cNvPr>
          <p:cNvSpPr/>
          <p:nvPr/>
        </p:nvSpPr>
        <p:spPr>
          <a:xfrm>
            <a:off x="8019954" y="1685013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wo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Shepherds 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3913B138-1EAC-16B6-6484-0BD3777A61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Trajectory</a:t>
            </a:r>
            <a:r>
              <a:rPr lang="de-DE" dirty="0"/>
              <a:t> </a:t>
            </a:r>
            <a:r>
              <a:rPr lang="de-DE" dirty="0" err="1"/>
              <a:t>plot</a:t>
            </a:r>
            <a:endParaRPr lang="de-DE" dirty="0"/>
          </a:p>
        </p:txBody>
      </p:sp>
      <p:pic>
        <p:nvPicPr>
          <p:cNvPr id="46" name="Grafik 45">
            <a:extLst>
              <a:ext uri="{FF2B5EF4-FFF2-40B4-BE49-F238E27FC236}">
                <a16:creationId xmlns:a16="http://schemas.microsoft.com/office/drawing/2014/main" id="{285C8617-B593-B0AF-FB74-C1DCE977DD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90363" y="2426224"/>
            <a:ext cx="4362027" cy="3146379"/>
          </a:xfrm>
          <a:prstGeom prst="rect">
            <a:avLst/>
          </a:prstGeom>
        </p:spPr>
      </p:pic>
      <p:pic>
        <p:nvPicPr>
          <p:cNvPr id="48" name="Grafik 47">
            <a:extLst>
              <a:ext uri="{FF2B5EF4-FFF2-40B4-BE49-F238E27FC236}">
                <a16:creationId xmlns:a16="http://schemas.microsoft.com/office/drawing/2014/main" id="{978B9A25-9188-7445-09AD-A17420A4F1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73201" y="2402005"/>
            <a:ext cx="1388927" cy="1490556"/>
          </a:xfrm>
          <a:prstGeom prst="rect">
            <a:avLst/>
          </a:prstGeom>
        </p:spPr>
      </p:pic>
      <p:pic>
        <p:nvPicPr>
          <p:cNvPr id="50" name="Grafik 49">
            <a:extLst>
              <a:ext uri="{FF2B5EF4-FFF2-40B4-BE49-F238E27FC236}">
                <a16:creationId xmlns:a16="http://schemas.microsoft.com/office/drawing/2014/main" id="{8B1B91C5-16AF-6CB4-6FB5-17C8498BB28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3335" y="2764020"/>
            <a:ext cx="3934374" cy="2896004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7DC2957D-FC66-AE87-A96E-337BE1150B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30577" y="2380689"/>
            <a:ext cx="1523034" cy="162571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728206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/>
              <a:t>Outlook</a:t>
            </a:r>
            <a:br>
              <a:rPr lang="de-DE" dirty="0"/>
            </a:br>
            <a:endParaRPr lang="de-DE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9DC2024-34BC-3B72-BFD7-14490A8C386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" name="Group 139">
            <a:extLst>
              <a:ext uri="{FF2B5EF4-FFF2-40B4-BE49-F238E27FC236}">
                <a16:creationId xmlns:a16="http://schemas.microsoft.com/office/drawing/2014/main" id="{55E8D3E9-385B-8FB9-78E1-46ED25D5C8BA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2" name="Teardrop 140">
              <a:extLst>
                <a:ext uri="{FF2B5EF4-FFF2-40B4-BE49-F238E27FC236}">
                  <a16:creationId xmlns:a16="http://schemas.microsoft.com/office/drawing/2014/main" id="{7E38ABC3-F9C8-7E30-0A06-59BD408FB9E1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39">
              <a:extLst>
                <a:ext uri="{FF2B5EF4-FFF2-40B4-BE49-F238E27FC236}">
                  <a16:creationId xmlns:a16="http://schemas.microsoft.com/office/drawing/2014/main" id="{8988E06E-4A18-F246-E8E5-DC9B1F9CEA8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" name="Group 925">
              <a:extLst>
                <a:ext uri="{FF2B5EF4-FFF2-40B4-BE49-F238E27FC236}">
                  <a16:creationId xmlns:a16="http://schemas.microsoft.com/office/drawing/2014/main" id="{4B88E82C-2687-9544-24CB-07226153E4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6" name="Freeform 926">
                <a:extLst>
                  <a:ext uri="{FF2B5EF4-FFF2-40B4-BE49-F238E27FC236}">
                    <a16:creationId xmlns:a16="http://schemas.microsoft.com/office/drawing/2014/main" id="{D4105ECE-72AC-B7D2-62F7-3B49AF697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" name="Freeform 927">
                <a:extLst>
                  <a:ext uri="{FF2B5EF4-FFF2-40B4-BE49-F238E27FC236}">
                    <a16:creationId xmlns:a16="http://schemas.microsoft.com/office/drawing/2014/main" id="{D997D6B2-E156-2B80-EB34-962498EB94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5" name="Oval 143">
              <a:extLst>
                <a:ext uri="{FF2B5EF4-FFF2-40B4-BE49-F238E27FC236}">
                  <a16:creationId xmlns:a16="http://schemas.microsoft.com/office/drawing/2014/main" id="{D95C0BA3-6A13-A41F-3CF6-10D42B9F9C2E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0" name="Freeform 872">
            <a:extLst>
              <a:ext uri="{FF2B5EF4-FFF2-40B4-BE49-F238E27FC236}">
                <a16:creationId xmlns:a16="http://schemas.microsoft.com/office/drawing/2014/main" id="{1F9F17E5-25AF-F685-6668-C446F441ABB6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" name="Rectangle 78">
            <a:extLst>
              <a:ext uri="{FF2B5EF4-FFF2-40B4-BE49-F238E27FC236}">
                <a16:creationId xmlns:a16="http://schemas.microsoft.com/office/drawing/2014/main" id="{918342BD-5E2C-01CA-60B7-8B4D9DDC0883}"/>
              </a:ext>
            </a:extLst>
          </p:cNvPr>
          <p:cNvSpPr/>
          <p:nvPr/>
        </p:nvSpPr>
        <p:spPr>
          <a:xfrm>
            <a:off x="806612" y="1888213"/>
            <a:ext cx="313546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- Multiple </a:t>
            </a:r>
            <a:r>
              <a:rPr kumimoji="0" lang="de-DE" sz="1600" b="1" i="0" u="none" strike="noStrike" kern="1200" cap="none" spc="0" normalizeH="0" baseline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shepherds</a:t>
            </a:r>
            <a:endParaRPr kumimoji="0" lang="de-DE" sz="1600" b="1" i="0" u="none" strike="noStrike" kern="1200" cap="none" spc="0" normalizeH="0" baseline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noProof="0" dirty="0">
                <a:solidFill>
                  <a:srgbClr val="0D8390"/>
                </a:solidFill>
              </a:rPr>
              <a:t>- </a:t>
            </a:r>
            <a:r>
              <a:rPr lang="de-DE" sz="1600" b="1" noProof="0" dirty="0" err="1">
                <a:solidFill>
                  <a:srgbClr val="0D8390"/>
                </a:solidFill>
              </a:rPr>
              <a:t>Comparison</a:t>
            </a:r>
            <a:r>
              <a:rPr lang="de-DE" sz="1600" b="1" noProof="0" dirty="0">
                <a:solidFill>
                  <a:srgbClr val="0D8390"/>
                </a:solidFill>
              </a:rPr>
              <a:t> </a:t>
            </a:r>
            <a:r>
              <a:rPr lang="de-DE" sz="1600" b="1" noProof="0" dirty="0" err="1">
                <a:solidFill>
                  <a:srgbClr val="0D8390"/>
                </a:solidFill>
              </a:rPr>
              <a:t>to</a:t>
            </a:r>
            <a:r>
              <a:rPr lang="de-DE" sz="1600" b="1" noProof="0" dirty="0">
                <a:solidFill>
                  <a:srgbClr val="0D8390"/>
                </a:solidFill>
              </a:rPr>
              <a:t> </a:t>
            </a:r>
            <a:r>
              <a:rPr lang="de-DE" sz="1600" b="1" noProof="0" dirty="0" err="1">
                <a:solidFill>
                  <a:srgbClr val="0D8390"/>
                </a:solidFill>
              </a:rPr>
              <a:t>another</a:t>
            </a:r>
            <a:r>
              <a:rPr lang="de-DE" sz="1600" b="1" noProof="0" dirty="0">
                <a:solidFill>
                  <a:srgbClr val="0D8390"/>
                </a:solidFill>
              </a:rPr>
              <a:t> </a:t>
            </a:r>
            <a:r>
              <a:rPr lang="de-DE" sz="1600" b="1" noProof="0" dirty="0" err="1">
                <a:solidFill>
                  <a:srgbClr val="0D8390"/>
                </a:solidFill>
              </a:rPr>
              <a:t>model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3913B138-1EAC-16B6-6484-0BD3777A61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Trajectory</a:t>
            </a:r>
            <a:r>
              <a:rPr lang="de-DE" dirty="0"/>
              <a:t> </a:t>
            </a:r>
            <a:r>
              <a:rPr lang="de-DE" dirty="0" err="1"/>
              <a:t>plot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107500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1B2258F-86CA-4D4D-8270-BC05FCDE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fik 3" descr="Ein Bild, das Säugetier, Schaf, draußen, Himmel enthält.&#10;&#10;Automatisch generierte Beschreibung">
            <a:extLst>
              <a:ext uri="{FF2B5EF4-FFF2-40B4-BE49-F238E27FC236}">
                <a16:creationId xmlns:a16="http://schemas.microsoft.com/office/drawing/2014/main" id="{DD643831-9107-387A-0410-25C78446410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1" r="10194" b="1"/>
          <a:stretch/>
        </p:blipFill>
        <p:spPr>
          <a:xfrm>
            <a:off x="20" y="1"/>
            <a:ext cx="12191980" cy="68579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8CDBD4F-867F-D835-9080-322F7C92E5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2507" y="-1006998"/>
            <a:ext cx="9144000" cy="290051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2800" dirty="0">
                <a:solidFill>
                  <a:srgbClr val="FFFFFF"/>
                </a:solidFill>
              </a:rPr>
              <a:t>Thank you for your attention!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4961FE0-164A-2527-0673-42973BA704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08253" y="6451192"/>
            <a:ext cx="9144000" cy="528343"/>
          </a:xfrm>
        </p:spPr>
        <p:txBody>
          <a:bodyPr vert="horz" lIns="91440" tIns="45720" rIns="91440" bIns="45720" rtlCol="0">
            <a:norm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Franziska Weber, Franz Muszarsky, Kimberley Frings</a:t>
            </a:r>
          </a:p>
        </p:txBody>
      </p:sp>
    </p:spTree>
    <p:extLst>
      <p:ext uri="{BB962C8B-B14F-4D97-AF65-F5344CB8AC3E}">
        <p14:creationId xmlns:p14="http://schemas.microsoft.com/office/powerpoint/2010/main" val="32206216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  <a:br>
              <a:rPr lang="de-DE" dirty="0"/>
            </a:br>
            <a:endParaRPr lang="de-DE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3763769"/>
            <a:ext cx="2160000" cy="40030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53565A"/>
                </a:solidFill>
                <a:latin typeface="Calibri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86BC25"/>
                </a:solidFill>
                <a:latin typeface="Calibri"/>
              </a:rPr>
              <a:t>Extens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  <p:pic>
        <p:nvPicPr>
          <p:cNvPr id="40" name="Grafik 39" descr="Schaf mit einfarbiger Füllung">
            <a:extLst>
              <a:ext uri="{FF2B5EF4-FFF2-40B4-BE49-F238E27FC236}">
                <a16:creationId xmlns:a16="http://schemas.microsoft.com/office/drawing/2014/main" id="{8637FC9F-4280-7CD0-0049-DA65AF8B80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16533" y="2070495"/>
            <a:ext cx="828000" cy="82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37953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31F344D-1760-8D98-4EEC-5A099F73EB5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154176" y="1369060"/>
            <a:ext cx="9341104" cy="4648200"/>
          </a:xfrm>
          <a:solidFill>
            <a:schemeClr val="accent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884" y="383856"/>
            <a:ext cx="11180232" cy="698501"/>
          </a:xfrm>
        </p:spPr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: </a:t>
            </a:r>
            <a:r>
              <a:rPr lang="de-DE" dirty="0" err="1"/>
              <a:t>Shepherding</a:t>
            </a:r>
            <a:r>
              <a:rPr lang="de-DE" dirty="0"/>
              <a:t> Problem</a:t>
            </a:r>
          </a:p>
        </p:txBody>
      </p:sp>
      <p:pic>
        <p:nvPicPr>
          <p:cNvPr id="5" name="Grafik 4" descr="Schaf mit einfarbiger Füllung">
            <a:extLst>
              <a:ext uri="{FF2B5EF4-FFF2-40B4-BE49-F238E27FC236}">
                <a16:creationId xmlns:a16="http://schemas.microsoft.com/office/drawing/2014/main" id="{00E7433A-6FA7-1CCB-B9CC-53D4534329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45680" y="2100640"/>
            <a:ext cx="828000" cy="828000"/>
          </a:xfrm>
          <a:prstGeom prst="rect">
            <a:avLst/>
          </a:prstGeom>
        </p:spPr>
      </p:pic>
      <p:pic>
        <p:nvPicPr>
          <p:cNvPr id="6" name="Grafik 5" descr="Schaf mit einfarbiger Füllung">
            <a:extLst>
              <a:ext uri="{FF2B5EF4-FFF2-40B4-BE49-F238E27FC236}">
                <a16:creationId xmlns:a16="http://schemas.microsoft.com/office/drawing/2014/main" id="{80E2F760-717C-E8DB-FCF3-03B144EB2D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94728" y="3149600"/>
            <a:ext cx="828000" cy="828000"/>
          </a:xfrm>
          <a:prstGeom prst="rect">
            <a:avLst/>
          </a:prstGeom>
        </p:spPr>
      </p:pic>
      <p:pic>
        <p:nvPicPr>
          <p:cNvPr id="7" name="Grafik 6" descr="Schaf mit einfarbiger Füllung">
            <a:extLst>
              <a:ext uri="{FF2B5EF4-FFF2-40B4-BE49-F238E27FC236}">
                <a16:creationId xmlns:a16="http://schemas.microsoft.com/office/drawing/2014/main" id="{3062EF3F-DE5E-D637-4323-C899703BFB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67184" y="2265660"/>
            <a:ext cx="828000" cy="828000"/>
          </a:xfrm>
          <a:prstGeom prst="rect">
            <a:avLst/>
          </a:prstGeom>
        </p:spPr>
      </p:pic>
      <p:pic>
        <p:nvPicPr>
          <p:cNvPr id="8" name="Grafik 7" descr="Schaf mit einfarbiger Füllung">
            <a:extLst>
              <a:ext uri="{FF2B5EF4-FFF2-40B4-BE49-F238E27FC236}">
                <a16:creationId xmlns:a16="http://schemas.microsoft.com/office/drawing/2014/main" id="{EC9AE0AE-DA4F-2ED2-4CF0-31EE5D813F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53680" y="4663420"/>
            <a:ext cx="828000" cy="828000"/>
          </a:xfrm>
          <a:prstGeom prst="rect">
            <a:avLst/>
          </a:prstGeom>
        </p:spPr>
      </p:pic>
      <p:pic>
        <p:nvPicPr>
          <p:cNvPr id="9" name="Grafik 8" descr="Schaf mit einfarbiger Füllung">
            <a:extLst>
              <a:ext uri="{FF2B5EF4-FFF2-40B4-BE49-F238E27FC236}">
                <a16:creationId xmlns:a16="http://schemas.microsoft.com/office/drawing/2014/main" id="{FF4997A2-DE54-1FCD-EDC9-3058414946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10728" y="3835420"/>
            <a:ext cx="828000" cy="828000"/>
          </a:xfrm>
          <a:prstGeom prst="rect">
            <a:avLst/>
          </a:prstGeom>
        </p:spPr>
      </p:pic>
      <p:pic>
        <p:nvPicPr>
          <p:cNvPr id="10" name="Grafik 9" descr="Hinzufügen mit einfarbiger Füllung">
            <a:extLst>
              <a:ext uri="{FF2B5EF4-FFF2-40B4-BE49-F238E27FC236}">
                <a16:creationId xmlns:a16="http://schemas.microsoft.com/office/drawing/2014/main" id="{1AE37731-6C99-EAC7-42DA-47981C1D13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500272">
            <a:off x="9274243" y="2169371"/>
            <a:ext cx="432000" cy="4320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F82085A-9893-757C-BCCE-87916DB9877B}"/>
              </a:ext>
            </a:extLst>
          </p:cNvPr>
          <p:cNvSpPr txBox="1"/>
          <p:nvPr/>
        </p:nvSpPr>
        <p:spPr>
          <a:xfrm>
            <a:off x="9493199" y="1608197"/>
            <a:ext cx="175798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3200" dirty="0">
                <a:solidFill>
                  <a:srgbClr val="313131"/>
                </a:solidFill>
              </a:rPr>
              <a:t>Ziel</a:t>
            </a:r>
          </a:p>
        </p:txBody>
      </p:sp>
      <p:pic>
        <p:nvPicPr>
          <p:cNvPr id="12" name="Grafik 11" descr="Hund mit einfarbiger Füllung">
            <a:extLst>
              <a:ext uri="{FF2B5EF4-FFF2-40B4-BE49-F238E27FC236}">
                <a16:creationId xmlns:a16="http://schemas.microsoft.com/office/drawing/2014/main" id="{1CDCDA4E-8202-6927-AE16-56E00689A2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98880" y="3977600"/>
            <a:ext cx="914400" cy="914400"/>
          </a:xfrm>
          <a:prstGeom prst="rect">
            <a:avLst/>
          </a:prstGeom>
        </p:spPr>
      </p:pic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9F917271-D71B-941C-7BC3-5EE940A65C70}"/>
              </a:ext>
            </a:extLst>
          </p:cNvPr>
          <p:cNvSpPr txBox="1">
            <a:spLocks/>
          </p:cNvSpPr>
          <p:nvPr/>
        </p:nvSpPr>
        <p:spPr bwMode="gray">
          <a:xfrm>
            <a:off x="10019300" y="-635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4" name="Group 119">
            <a:extLst>
              <a:ext uri="{FF2B5EF4-FFF2-40B4-BE49-F238E27FC236}">
                <a16:creationId xmlns:a16="http://schemas.microsoft.com/office/drawing/2014/main" id="{A2680AA9-E544-81B9-6F4D-B2A63AFE82D0}"/>
              </a:ext>
            </a:extLst>
          </p:cNvPr>
          <p:cNvGrpSpPr/>
          <p:nvPr/>
        </p:nvGrpSpPr>
        <p:grpSpPr>
          <a:xfrm>
            <a:off x="10270670" y="-1638753"/>
            <a:ext cx="1598523" cy="2005765"/>
            <a:chOff x="2055768" y="1602865"/>
            <a:chExt cx="1598523" cy="2005765"/>
          </a:xfrm>
        </p:grpSpPr>
        <p:sp>
          <p:nvSpPr>
            <p:cNvPr id="35" name="Teardrop 121">
              <a:extLst>
                <a:ext uri="{FF2B5EF4-FFF2-40B4-BE49-F238E27FC236}">
                  <a16:creationId xmlns:a16="http://schemas.microsoft.com/office/drawing/2014/main" id="{04B0C7A4-405D-056D-98B5-8E29CCA4E3FB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Freeform 23">
              <a:extLst>
                <a:ext uri="{FF2B5EF4-FFF2-40B4-BE49-F238E27FC236}">
                  <a16:creationId xmlns:a16="http://schemas.microsoft.com/office/drawing/2014/main" id="{5EE4BAB9-B490-6A69-EC63-89945F767184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7" name="Oval 124">
              <a:extLst>
                <a:ext uri="{FF2B5EF4-FFF2-40B4-BE49-F238E27FC236}">
                  <a16:creationId xmlns:a16="http://schemas.microsoft.com/office/drawing/2014/main" id="{CC3F290F-468D-8097-C5B6-C484808D2428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38" name="Grafik 37" descr="Schaf mit einfarbiger Füllung">
            <a:extLst>
              <a:ext uri="{FF2B5EF4-FFF2-40B4-BE49-F238E27FC236}">
                <a16:creationId xmlns:a16="http://schemas.microsoft.com/office/drawing/2014/main" id="{FB01B29F-F59B-9187-0B40-6C28944CA4C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78633" y="-1326262"/>
            <a:ext cx="828000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306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 animBg="1"/>
      <p:bldP spid="1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31F344D-1760-8D98-4EEC-5A099F73EB5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148080" y="1369060"/>
            <a:ext cx="9341104" cy="4648200"/>
          </a:xfrm>
          <a:solidFill>
            <a:schemeClr val="accent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: </a:t>
            </a:r>
            <a:r>
              <a:rPr lang="de-DE" dirty="0" err="1"/>
              <a:t>Shepherding</a:t>
            </a:r>
            <a:r>
              <a:rPr lang="de-DE" dirty="0"/>
              <a:t> Problem</a:t>
            </a:r>
          </a:p>
        </p:txBody>
      </p:sp>
      <p:pic>
        <p:nvPicPr>
          <p:cNvPr id="5" name="Grafik 4" descr="Schaf mit einfarbiger Füllung">
            <a:extLst>
              <a:ext uri="{FF2B5EF4-FFF2-40B4-BE49-F238E27FC236}">
                <a16:creationId xmlns:a16="http://schemas.microsoft.com/office/drawing/2014/main" id="{00E7433A-6FA7-1CCB-B9CC-53D4534329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1204" y="3149600"/>
            <a:ext cx="828000" cy="828000"/>
          </a:xfrm>
          <a:prstGeom prst="rect">
            <a:avLst/>
          </a:prstGeom>
        </p:spPr>
      </p:pic>
      <p:pic>
        <p:nvPicPr>
          <p:cNvPr id="6" name="Grafik 5" descr="Schaf mit einfarbiger Füllung">
            <a:extLst>
              <a:ext uri="{FF2B5EF4-FFF2-40B4-BE49-F238E27FC236}">
                <a16:creationId xmlns:a16="http://schemas.microsoft.com/office/drawing/2014/main" id="{80E2F760-717C-E8DB-FCF3-03B144EB2D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17096" y="3563600"/>
            <a:ext cx="828000" cy="828000"/>
          </a:xfrm>
          <a:prstGeom prst="rect">
            <a:avLst/>
          </a:prstGeom>
        </p:spPr>
      </p:pic>
      <p:pic>
        <p:nvPicPr>
          <p:cNvPr id="7" name="Grafik 6" descr="Schaf mit einfarbiger Füllung">
            <a:extLst>
              <a:ext uri="{FF2B5EF4-FFF2-40B4-BE49-F238E27FC236}">
                <a16:creationId xmlns:a16="http://schemas.microsoft.com/office/drawing/2014/main" id="{3062EF3F-DE5E-D637-4323-C899703BFB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3432" y="3235980"/>
            <a:ext cx="828000" cy="828000"/>
          </a:xfrm>
          <a:prstGeom prst="rect">
            <a:avLst/>
          </a:prstGeom>
        </p:spPr>
      </p:pic>
      <p:pic>
        <p:nvPicPr>
          <p:cNvPr id="8" name="Grafik 7" descr="Schaf mit einfarbiger Füllung">
            <a:extLst>
              <a:ext uri="{FF2B5EF4-FFF2-40B4-BE49-F238E27FC236}">
                <a16:creationId xmlns:a16="http://schemas.microsoft.com/office/drawing/2014/main" id="{EC9AE0AE-DA4F-2ED2-4CF0-31EE5D813F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85816" y="3693160"/>
            <a:ext cx="828000" cy="828000"/>
          </a:xfrm>
          <a:prstGeom prst="rect">
            <a:avLst/>
          </a:prstGeom>
        </p:spPr>
      </p:pic>
      <p:pic>
        <p:nvPicPr>
          <p:cNvPr id="9" name="Grafik 8" descr="Schaf mit einfarbiger Füllung">
            <a:extLst>
              <a:ext uri="{FF2B5EF4-FFF2-40B4-BE49-F238E27FC236}">
                <a16:creationId xmlns:a16="http://schemas.microsoft.com/office/drawing/2014/main" id="{FF4997A2-DE54-1FCD-EDC9-3058414946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6432" y="3606800"/>
            <a:ext cx="828000" cy="828000"/>
          </a:xfrm>
          <a:prstGeom prst="rect">
            <a:avLst/>
          </a:prstGeom>
        </p:spPr>
      </p:pic>
      <p:pic>
        <p:nvPicPr>
          <p:cNvPr id="10" name="Grafik 9" descr="Hinzufügen mit einfarbiger Füllung">
            <a:extLst>
              <a:ext uri="{FF2B5EF4-FFF2-40B4-BE49-F238E27FC236}">
                <a16:creationId xmlns:a16="http://schemas.microsoft.com/office/drawing/2014/main" id="{1AE37731-6C99-EAC7-42DA-47981C1D13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500272">
            <a:off x="9268147" y="2169371"/>
            <a:ext cx="432000" cy="4320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F82085A-9893-757C-BCCE-87916DB9877B}"/>
              </a:ext>
            </a:extLst>
          </p:cNvPr>
          <p:cNvSpPr txBox="1"/>
          <p:nvPr/>
        </p:nvSpPr>
        <p:spPr>
          <a:xfrm>
            <a:off x="9487103" y="1608197"/>
            <a:ext cx="175798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3200" dirty="0">
                <a:solidFill>
                  <a:srgbClr val="313131"/>
                </a:solidFill>
              </a:rPr>
              <a:t>Ziel</a:t>
            </a:r>
          </a:p>
        </p:txBody>
      </p:sp>
      <p:pic>
        <p:nvPicPr>
          <p:cNvPr id="12" name="Grafik 11" descr="Hund mit einfarbiger Füllung">
            <a:extLst>
              <a:ext uri="{FF2B5EF4-FFF2-40B4-BE49-F238E27FC236}">
                <a16:creationId xmlns:a16="http://schemas.microsoft.com/office/drawing/2014/main" id="{1CDCDA4E-8202-6927-AE16-56E00689A2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26582" y="3934400"/>
            <a:ext cx="914400" cy="914400"/>
          </a:xfrm>
          <a:prstGeom prst="rect">
            <a:avLst/>
          </a:prstGeom>
        </p:spPr>
      </p:pic>
      <p:grpSp>
        <p:nvGrpSpPr>
          <p:cNvPr id="16" name="Group 119">
            <a:extLst>
              <a:ext uri="{FF2B5EF4-FFF2-40B4-BE49-F238E27FC236}">
                <a16:creationId xmlns:a16="http://schemas.microsoft.com/office/drawing/2014/main" id="{49BAD4DB-6F10-D67C-0F68-9D5117CEB9D7}"/>
              </a:ext>
            </a:extLst>
          </p:cNvPr>
          <p:cNvGrpSpPr/>
          <p:nvPr/>
        </p:nvGrpSpPr>
        <p:grpSpPr>
          <a:xfrm>
            <a:off x="10270670" y="-1638753"/>
            <a:ext cx="1598523" cy="2005765"/>
            <a:chOff x="2055768" y="1602865"/>
            <a:chExt cx="1598523" cy="2005765"/>
          </a:xfrm>
        </p:grpSpPr>
        <p:sp>
          <p:nvSpPr>
            <p:cNvPr id="17" name="Teardrop 121">
              <a:extLst>
                <a:ext uri="{FF2B5EF4-FFF2-40B4-BE49-F238E27FC236}">
                  <a16:creationId xmlns:a16="http://schemas.microsoft.com/office/drawing/2014/main" id="{A7682DAE-0B71-8B27-1EDA-B6470DE828D3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23">
              <a:extLst>
                <a:ext uri="{FF2B5EF4-FFF2-40B4-BE49-F238E27FC236}">
                  <a16:creationId xmlns:a16="http://schemas.microsoft.com/office/drawing/2014/main" id="{F5132F19-0FA0-DBEF-0B76-9E9690534B01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Oval 124">
              <a:extLst>
                <a:ext uri="{FF2B5EF4-FFF2-40B4-BE49-F238E27FC236}">
                  <a16:creationId xmlns:a16="http://schemas.microsoft.com/office/drawing/2014/main" id="{1D98D10A-9BE8-9BB0-226F-723E8DECEE8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20" name="Grafik 19" descr="Schaf mit einfarbiger Füllung">
            <a:extLst>
              <a:ext uri="{FF2B5EF4-FFF2-40B4-BE49-F238E27FC236}">
                <a16:creationId xmlns:a16="http://schemas.microsoft.com/office/drawing/2014/main" id="{5A8AD3DB-64B4-FD45-BC55-F1ECBFE3228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78633" y="-1326262"/>
            <a:ext cx="828000" cy="828000"/>
          </a:xfrm>
          <a:prstGeom prst="rect">
            <a:avLst/>
          </a:prstGeom>
        </p:spPr>
      </p:pic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F3E158F2-4EA3-CB9D-B6E6-17A8256FF1C8}"/>
              </a:ext>
            </a:extLst>
          </p:cNvPr>
          <p:cNvSpPr txBox="1">
            <a:spLocks/>
          </p:cNvSpPr>
          <p:nvPr/>
        </p:nvSpPr>
        <p:spPr bwMode="gray">
          <a:xfrm>
            <a:off x="10019300" y="-635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06474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4.07407E-6 L 3.33333E-6 0.00023 C 0.00859 -0.00255 0.01718 -0.00463 0.02578 -0.00764 C 0.04414 -0.01366 0.08073 -0.02686 0.08073 -0.02662 C 0.0858 -0.03033 0.09062 -0.03426 0.0957 -0.03727 C 0.09896 -0.03912 0.1026 -0.03936 0.10573 -0.04167 C 0.11211 -0.0463 0.11888 -0.05024 0.12409 -0.05787 C 0.13034 -0.06713 0.13073 -0.06875 0.13997 -0.0757 C 0.14336 -0.07824 0.14726 -0.0794 0.15078 -0.08172 C 0.15338 -0.08334 0.15573 -0.08588 0.1582 -0.0875 C 0.17786 -0.09977 0.15742 -0.08403 0.17578 -0.09792 C 0.17695 -0.09885 0.17799 -0.1 0.17903 -0.10093 C 0.18346 -0.10394 0.18802 -0.10672 0.19244 -0.10973 C 0.19518 -0.11181 0.19804 -0.11343 0.20078 -0.11574 C 0.2039 -0.11852 0.2138 -0.12824 0.21823 -0.12917 C 0.23372 -0.13172 0.24935 -0.13195 0.26497 -0.13357 C 0.26679 -0.13542 0.26862 -0.13797 0.2707 -0.13936 C 0.275 -0.1426 0.28489 -0.14862 0.29075 -0.15139 C 0.29218 -0.15186 0.29349 -0.15232 0.29492 -0.15278 C 0.2983 -0.15579 0.30273 -0.16042 0.30664 -0.16158 C 0.31237 -0.16366 0.32409 -0.16621 0.32409 -0.16598 C 0.32656 -0.1676 0.33242 -0.1713 0.33489 -0.17199 C 0.33737 -0.17292 0.33997 -0.17292 0.34244 -0.17362 C 0.34518 -0.17431 0.34791 -0.1757 0.35078 -0.17639 C 0.36276 -0.18033 0.35729 -0.17732 0.36328 -0.18102 C 0.36458 -0.18287 0.36588 -0.18519 0.36744 -0.18681 C 0.3681 -0.18774 0.36914 -0.1875 0.36992 -0.18843 C 0.37083 -0.18959 0.37148 -0.19144 0.37239 -0.19283 C 0.37474 -0.1963 0.37812 -0.19862 0.38073 -0.20024 C 0.38177 -0.20093 0.38294 -0.20116 0.38411 -0.20162 C 0.39192 -0.20556 0.37929 -0.20024 0.39075 -0.20463 C 0.39179 -0.2051 0.39414 -0.20602 0.39414 -0.20579 " pathEditMode="relative" rAng="0" ptsTypes="AAAAAAAAAAAAAAAAAAAAAAAAAAAAAAAA">
                                      <p:cBhvr>
                                        <p:cTn id="6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01" y="-10301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7 -1.11111E-6 L 4.16667E-7 0.00023 C 0.00859 -0.00255 0.01719 -0.00463 0.02578 -0.00764 C 0.04414 -0.01366 0.08073 -0.02685 0.08073 -0.02662 C 0.08581 -0.03032 0.09062 -0.03426 0.0957 -0.03727 C 0.09896 -0.03912 0.1026 -0.03935 0.10573 -0.04167 C 0.11211 -0.0463 0.11888 -0.05023 0.12409 -0.05787 C 0.13034 -0.06713 0.13073 -0.06875 0.13997 -0.07569 C 0.14336 -0.07824 0.14727 -0.0794 0.15078 -0.08171 C 0.15339 -0.08333 0.15573 -0.08588 0.1582 -0.0875 C 0.17786 -0.09977 0.15742 -0.08403 0.17578 -0.09792 C 0.17695 -0.09884 0.17799 -0.1 0.17904 -0.10092 C 0.18346 -0.10393 0.18802 -0.10671 0.19245 -0.10972 C 0.19518 -0.1118 0.19805 -0.11342 0.20078 -0.11574 C 0.20391 -0.11852 0.2138 -0.12824 0.21823 -0.12917 C 0.23372 -0.13171 0.24935 -0.13194 0.26497 -0.13356 C 0.2668 -0.13542 0.26862 -0.13796 0.2707 -0.13935 C 0.275 -0.14259 0.2849 -0.14861 0.29075 -0.15139 C 0.29219 -0.15185 0.29349 -0.15231 0.29492 -0.15278 C 0.29831 -0.15579 0.30273 -0.16042 0.30664 -0.16157 C 0.31237 -0.16366 0.32409 -0.1662 0.32409 -0.16597 C 0.32656 -0.16759 0.33242 -0.1713 0.3349 -0.17199 C 0.33737 -0.17292 0.33997 -0.17292 0.34245 -0.17361 C 0.34518 -0.1743 0.34792 -0.17569 0.35078 -0.17639 C 0.36276 -0.18032 0.35729 -0.17731 0.36328 -0.18102 C 0.36458 -0.18287 0.36589 -0.18518 0.36745 -0.1868 C 0.3681 -0.18773 0.36914 -0.1875 0.36992 -0.18842 C 0.37083 -0.18958 0.37148 -0.19143 0.3724 -0.19282 C 0.37474 -0.1963 0.37812 -0.19861 0.38073 -0.20023 C 0.38177 -0.20092 0.38294 -0.20116 0.38411 -0.20162 C 0.39193 -0.20555 0.3793 -0.20023 0.39075 -0.20463 C 0.3918 -0.20509 0.39414 -0.20602 0.39414 -0.20579 " pathEditMode="relative" rAng="0" ptsTypes="AAAAAAAAAAAAAAAAAAAAAAAAAAAAAAAA">
                                      <p:cBhvr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01" y="-10301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4.07407E-6 L 8.33333E-7 0.00023 C 0.00859 -0.00255 0.01719 -0.00463 0.02578 -0.00764 C 0.04414 -0.01366 0.08073 -0.02686 0.08073 -0.02662 C 0.08581 -0.03033 0.09062 -0.03426 0.0957 -0.03727 C 0.09896 -0.03912 0.1026 -0.03936 0.10573 -0.04167 C 0.11211 -0.0463 0.11888 -0.05024 0.12409 -0.05787 C 0.13034 -0.06713 0.13073 -0.06875 0.13997 -0.0757 C 0.14336 -0.07824 0.14726 -0.0794 0.15078 -0.08172 C 0.15338 -0.08334 0.15573 -0.08588 0.1582 -0.0875 C 0.17786 -0.09977 0.15742 -0.08403 0.17578 -0.09792 C 0.17695 -0.09885 0.17799 -0.1 0.17904 -0.10093 C 0.18346 -0.10394 0.18802 -0.10672 0.19245 -0.10973 C 0.19518 -0.11181 0.19805 -0.11343 0.20078 -0.11574 C 0.20391 -0.11852 0.2138 -0.12824 0.21823 -0.12917 C 0.23372 -0.13172 0.24935 -0.13195 0.26497 -0.13357 C 0.2668 -0.13542 0.26862 -0.13797 0.2707 -0.13936 C 0.275 -0.1426 0.2849 -0.14862 0.29075 -0.15139 C 0.29219 -0.15186 0.29349 -0.15232 0.29492 -0.15278 C 0.29831 -0.15579 0.30273 -0.16042 0.30664 -0.16158 C 0.31237 -0.16366 0.32409 -0.16621 0.32409 -0.16598 C 0.32656 -0.1676 0.33242 -0.1713 0.3349 -0.17199 C 0.33737 -0.17292 0.33997 -0.17292 0.34245 -0.17362 C 0.34518 -0.17431 0.34792 -0.1757 0.35078 -0.17639 C 0.36276 -0.18033 0.35729 -0.17732 0.36328 -0.18102 C 0.36458 -0.18287 0.36588 -0.18519 0.36745 -0.18681 C 0.3681 -0.18774 0.36914 -0.1875 0.36992 -0.18843 C 0.37083 -0.18959 0.37148 -0.19144 0.3724 -0.19283 C 0.37474 -0.1963 0.37812 -0.19862 0.38073 -0.20024 C 0.38177 -0.20093 0.38294 -0.20116 0.38411 -0.20162 C 0.39193 -0.20556 0.3793 -0.20024 0.39075 -0.20463 C 0.3918 -0.2051 0.39414 -0.20602 0.39414 -0.20579 " pathEditMode="relative" rAng="0" ptsTypes="AAAAAAAAAAAAAAAAAAAAAAAAAAAAAAAA">
                                      <p:cBhvr>
                                        <p:cTn id="10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01" y="-1030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95833E-6 -2.59259E-6 L 3.95833E-6 0.00023 C 0.00859 -0.00254 0.01718 -0.00463 0.02578 -0.00764 C 0.04414 -0.01365 0.08073 -0.02685 0.08073 -0.02662 C 0.0858 -0.03032 0.09062 -0.03426 0.0957 -0.03727 C 0.09895 -0.03912 0.1026 -0.03935 0.10573 -0.04166 C 0.11211 -0.04629 0.11888 -0.05023 0.12408 -0.05787 C 0.13033 -0.06713 0.13073 -0.06875 0.13997 -0.07569 C 0.14336 -0.07824 0.14726 -0.0794 0.15078 -0.08171 C 0.15338 -0.08333 0.15573 -0.08588 0.1582 -0.0875 C 0.17786 -0.09977 0.15742 -0.08403 0.17578 -0.09791 C 0.17695 -0.09884 0.17799 -0.1 0.17903 -0.10092 C 0.18346 -0.10393 0.18802 -0.10671 0.19244 -0.10972 C 0.19518 -0.1118 0.19804 -0.11342 0.20078 -0.11574 C 0.2039 -0.11852 0.2138 -0.12824 0.21823 -0.12916 C 0.23372 -0.13171 0.24935 -0.13194 0.26497 -0.13356 C 0.26679 -0.13541 0.26862 -0.13796 0.2707 -0.13935 C 0.275 -0.14259 0.28489 -0.14861 0.29075 -0.15139 C 0.29218 -0.15185 0.29349 -0.15231 0.29492 -0.15278 C 0.2983 -0.15578 0.30273 -0.16041 0.30664 -0.16157 C 0.31237 -0.16365 0.32408 -0.1662 0.32408 -0.16597 C 0.32656 -0.16759 0.33242 -0.17129 0.33489 -0.17199 C 0.33737 -0.17291 0.33997 -0.17291 0.34244 -0.17361 C 0.34518 -0.1743 0.34791 -0.17569 0.35078 -0.17639 C 0.36276 -0.18032 0.35729 -0.17731 0.36328 -0.18102 C 0.36458 -0.18287 0.36588 -0.18518 0.36744 -0.1868 C 0.3681 -0.18773 0.36914 -0.1875 0.36992 -0.18842 C 0.37083 -0.18958 0.37148 -0.19143 0.37239 -0.19282 C 0.37474 -0.19629 0.37812 -0.19861 0.38073 -0.20023 C 0.38177 -0.20092 0.38294 -0.20115 0.38411 -0.20162 C 0.39192 -0.20555 0.37929 -0.20023 0.39075 -0.20463 C 0.39179 -0.20509 0.39414 -0.20602 0.39414 -0.20578 " pathEditMode="relative" rAng="0" ptsTypes="AAAAAAAAAAAAAAAAAAAAAAAAAAAAAAAA">
                                      <p:cBhvr>
                                        <p:cTn id="12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01" y="-10301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112E-17 -2.59259E-6 L 5.55112E-17 0.00023 C 0.00859 -0.00254 0.01719 -0.00463 0.02578 -0.00764 C 0.04414 -0.01365 0.08073 -0.02685 0.08073 -0.02662 C 0.08581 -0.03032 0.09063 -0.03426 0.0957 -0.03727 C 0.09896 -0.03912 0.1026 -0.03935 0.10573 -0.04166 C 0.11211 -0.04629 0.11888 -0.05023 0.12409 -0.05787 C 0.13034 -0.06713 0.13073 -0.06875 0.13997 -0.07569 C 0.14336 -0.07824 0.14727 -0.0794 0.15078 -0.08171 C 0.15339 -0.08333 0.15573 -0.08588 0.1582 -0.0875 C 0.17786 -0.09977 0.15742 -0.08403 0.17578 -0.09791 C 0.17695 -0.09884 0.17799 -0.1 0.17904 -0.10092 C 0.18346 -0.10393 0.18802 -0.10671 0.19245 -0.10972 C 0.19518 -0.1118 0.19805 -0.11342 0.20078 -0.11574 C 0.20391 -0.11852 0.2138 -0.12824 0.21823 -0.12916 C 0.23372 -0.13171 0.24935 -0.13194 0.26497 -0.13356 C 0.2668 -0.13541 0.26862 -0.13796 0.2707 -0.13935 C 0.275 -0.14259 0.2849 -0.14861 0.29076 -0.15139 C 0.29219 -0.15185 0.29349 -0.15231 0.29492 -0.15278 C 0.29831 -0.15578 0.30273 -0.16041 0.30664 -0.16157 C 0.31237 -0.16365 0.32409 -0.1662 0.32409 -0.16597 C 0.32656 -0.16759 0.33242 -0.17129 0.3349 -0.17199 C 0.33737 -0.17291 0.33997 -0.17291 0.34245 -0.17361 C 0.34518 -0.1743 0.34792 -0.17569 0.35078 -0.17639 C 0.36276 -0.18032 0.35729 -0.17731 0.36328 -0.18102 C 0.36458 -0.18287 0.36589 -0.18518 0.36745 -0.1868 C 0.3681 -0.18773 0.36914 -0.1875 0.36992 -0.18842 C 0.37083 -0.18958 0.37148 -0.19143 0.3724 -0.19282 C 0.37474 -0.19629 0.37813 -0.19861 0.38073 -0.20023 C 0.38177 -0.20092 0.38294 -0.20115 0.38411 -0.20162 C 0.39193 -0.20555 0.3793 -0.20023 0.39076 -0.20463 C 0.3918 -0.20509 0.39414 -0.20602 0.39414 -0.20578 " pathEditMode="relative" rAng="0" ptsTypes="AAAAAAAAAAAAAAAAAAAAAAAAAAAAAAAA">
                                      <p:cBhvr>
                                        <p:cTn id="14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01" y="-10301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2.22222E-6 L 8.33333E-7 0.00023 C 0.00859 -0.00255 0.01719 -0.00463 0.02578 -0.00764 C 0.04414 -0.01366 0.08073 -0.02685 0.08073 -0.02662 C 0.08581 -0.03033 0.09062 -0.03426 0.0957 -0.03727 C 0.09896 -0.03912 0.1026 -0.03935 0.10573 -0.04167 C 0.11211 -0.0463 0.11888 -0.05023 0.12409 -0.05787 C 0.13034 -0.06713 0.13073 -0.06875 0.13997 -0.0757 C 0.14336 -0.07824 0.14726 -0.0794 0.15078 -0.08172 C 0.15338 -0.08334 0.15573 -0.08588 0.1582 -0.0875 C 0.17786 -0.09977 0.15742 -0.08403 0.17578 -0.09792 C 0.17695 -0.09884 0.17799 -0.1 0.17904 -0.10093 C 0.18346 -0.10394 0.18802 -0.10672 0.19245 -0.10972 C 0.19518 -0.11181 0.19805 -0.11343 0.20078 -0.11574 C 0.20391 -0.11852 0.2138 -0.12824 0.21823 -0.12917 C 0.23372 -0.13172 0.24935 -0.13195 0.26497 -0.13357 C 0.2668 -0.13542 0.26862 -0.13797 0.2707 -0.13935 C 0.275 -0.14259 0.2849 -0.14861 0.29075 -0.15139 C 0.29206 -0.15185 0.29336 -0.15232 0.29492 -0.15278 C 0.29831 -0.15579 0.3026 -0.16042 0.30651 -0.16158 C 0.31237 -0.16366 0.32409 -0.16621 0.32409 -0.16597 C 0.32656 -0.16759 0.33242 -0.1713 0.3349 -0.17199 C 0.33737 -0.17292 0.33997 -0.17292 0.34245 -0.17361 C 0.34518 -0.17431 0.34792 -0.1757 0.35078 -0.17639 C 0.36276 -0.18033 0.35729 -0.17732 0.36328 -0.18102 C 0.36458 -0.18287 0.36588 -0.18519 0.36745 -0.18681 C 0.3681 -0.18773 0.36914 -0.1875 0.36992 -0.18843 C 0.37083 -0.18959 0.37148 -0.19144 0.3724 -0.19283 C 0.37474 -0.1963 0.37812 -0.19861 0.38073 -0.20023 C 0.38177 -0.20093 0.38294 -0.20116 0.38411 -0.20162 C 0.39193 -0.20556 0.3793 -0.20023 0.39075 -0.20463 C 0.3918 -0.20509 0.39414 -0.20602 0.39414 -0.20579 " pathEditMode="relative" rAng="0" ptsTypes="AAAAAAAAAAAAAAAAAAAAAAAAAAAAAAAA">
                                      <p:cBhvr>
                                        <p:cTn id="1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01" y="-1030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31F344D-1760-8D98-4EEC-5A099F73EB5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164183" y="1369060"/>
            <a:ext cx="9341104" cy="4648200"/>
          </a:xfrm>
          <a:solidFill>
            <a:schemeClr val="accent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: </a:t>
            </a:r>
            <a:r>
              <a:rPr lang="de-DE" dirty="0" err="1"/>
              <a:t>Shepherding</a:t>
            </a:r>
            <a:r>
              <a:rPr lang="de-DE" dirty="0"/>
              <a:t> Problem</a:t>
            </a:r>
          </a:p>
        </p:txBody>
      </p:sp>
      <p:pic>
        <p:nvPicPr>
          <p:cNvPr id="5" name="Grafik 4" descr="Schaf mit einfarbiger Füllung">
            <a:extLst>
              <a:ext uri="{FF2B5EF4-FFF2-40B4-BE49-F238E27FC236}">
                <a16:creationId xmlns:a16="http://schemas.microsoft.com/office/drawing/2014/main" id="{00E7433A-6FA7-1CCB-B9CC-53D4534329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97307" y="3149600"/>
            <a:ext cx="828000" cy="828000"/>
          </a:xfrm>
          <a:prstGeom prst="rect">
            <a:avLst/>
          </a:prstGeom>
        </p:spPr>
      </p:pic>
      <p:pic>
        <p:nvPicPr>
          <p:cNvPr id="6" name="Grafik 5" descr="Schaf mit einfarbiger Füllung">
            <a:extLst>
              <a:ext uri="{FF2B5EF4-FFF2-40B4-BE49-F238E27FC236}">
                <a16:creationId xmlns:a16="http://schemas.microsoft.com/office/drawing/2014/main" id="{80E2F760-717C-E8DB-FCF3-03B144EB2D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199" y="3563600"/>
            <a:ext cx="828000" cy="828000"/>
          </a:xfrm>
          <a:prstGeom prst="rect">
            <a:avLst/>
          </a:prstGeom>
        </p:spPr>
      </p:pic>
      <p:pic>
        <p:nvPicPr>
          <p:cNvPr id="7" name="Grafik 6" descr="Schaf mit einfarbiger Füllung">
            <a:extLst>
              <a:ext uri="{FF2B5EF4-FFF2-40B4-BE49-F238E27FC236}">
                <a16:creationId xmlns:a16="http://schemas.microsoft.com/office/drawing/2014/main" id="{3062EF3F-DE5E-D637-4323-C899703BFB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9535" y="3235980"/>
            <a:ext cx="828000" cy="828000"/>
          </a:xfrm>
          <a:prstGeom prst="rect">
            <a:avLst/>
          </a:prstGeom>
        </p:spPr>
      </p:pic>
      <p:pic>
        <p:nvPicPr>
          <p:cNvPr id="8" name="Grafik 7" descr="Schaf mit einfarbiger Füllung">
            <a:extLst>
              <a:ext uri="{FF2B5EF4-FFF2-40B4-BE49-F238E27FC236}">
                <a16:creationId xmlns:a16="http://schemas.microsoft.com/office/drawing/2014/main" id="{EC9AE0AE-DA4F-2ED2-4CF0-31EE5D813F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01919" y="3693160"/>
            <a:ext cx="828000" cy="828000"/>
          </a:xfrm>
          <a:prstGeom prst="rect">
            <a:avLst/>
          </a:prstGeom>
        </p:spPr>
      </p:pic>
      <p:pic>
        <p:nvPicPr>
          <p:cNvPr id="9" name="Grafik 8" descr="Schaf mit einfarbiger Füllung">
            <a:extLst>
              <a:ext uri="{FF2B5EF4-FFF2-40B4-BE49-F238E27FC236}">
                <a16:creationId xmlns:a16="http://schemas.microsoft.com/office/drawing/2014/main" id="{FF4997A2-DE54-1FCD-EDC9-3058414946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2535" y="3606800"/>
            <a:ext cx="828000" cy="828000"/>
          </a:xfrm>
          <a:prstGeom prst="rect">
            <a:avLst/>
          </a:prstGeom>
        </p:spPr>
      </p:pic>
      <p:pic>
        <p:nvPicPr>
          <p:cNvPr id="10" name="Grafik 9" descr="Hinzufügen mit einfarbiger Füllung">
            <a:extLst>
              <a:ext uri="{FF2B5EF4-FFF2-40B4-BE49-F238E27FC236}">
                <a16:creationId xmlns:a16="http://schemas.microsoft.com/office/drawing/2014/main" id="{1AE37731-6C99-EAC7-42DA-47981C1D13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500272">
            <a:off x="9284250" y="2169371"/>
            <a:ext cx="432000" cy="4320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F82085A-9893-757C-BCCE-87916DB9877B}"/>
              </a:ext>
            </a:extLst>
          </p:cNvPr>
          <p:cNvSpPr txBox="1"/>
          <p:nvPr/>
        </p:nvSpPr>
        <p:spPr>
          <a:xfrm>
            <a:off x="8802319" y="1953637"/>
            <a:ext cx="175798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3200" dirty="0">
                <a:solidFill>
                  <a:srgbClr val="313131"/>
                </a:solidFill>
              </a:rPr>
              <a:t>Ziel</a:t>
            </a:r>
          </a:p>
        </p:txBody>
      </p:sp>
      <p:pic>
        <p:nvPicPr>
          <p:cNvPr id="12" name="Grafik 11" descr="Hund mit einfarbiger Füllung">
            <a:extLst>
              <a:ext uri="{FF2B5EF4-FFF2-40B4-BE49-F238E27FC236}">
                <a16:creationId xmlns:a16="http://schemas.microsoft.com/office/drawing/2014/main" id="{1CDCDA4E-8202-6927-AE16-56E00689A2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62895" y="4198560"/>
            <a:ext cx="914400" cy="914400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26454D39-C1C1-6250-6280-E5A0170E6F9A}"/>
              </a:ext>
            </a:extLst>
          </p:cNvPr>
          <p:cNvSpPr txBox="1"/>
          <p:nvPr/>
        </p:nvSpPr>
        <p:spPr>
          <a:xfrm>
            <a:off x="1777307" y="2105776"/>
            <a:ext cx="5121180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0" i="1" dirty="0">
                <a:solidFill>
                  <a:srgbClr val="040C28"/>
                </a:solidFill>
                <a:effectLst/>
                <a:latin typeface="Google Sans"/>
              </a:rPr>
              <a:t>“The problem of guiding a flock of several autonomous agents using repulsion force exerted by a smaller number of agents.</a:t>
            </a:r>
            <a:endParaRPr lang="de-DE" sz="2800" i="1" dirty="0"/>
          </a:p>
        </p:txBody>
      </p:sp>
      <p:grpSp>
        <p:nvGrpSpPr>
          <p:cNvPr id="18" name="Group 119">
            <a:extLst>
              <a:ext uri="{FF2B5EF4-FFF2-40B4-BE49-F238E27FC236}">
                <a16:creationId xmlns:a16="http://schemas.microsoft.com/office/drawing/2014/main" id="{3C2E2F28-5F71-1B74-B4C7-8CFC08D3DCA6}"/>
              </a:ext>
            </a:extLst>
          </p:cNvPr>
          <p:cNvGrpSpPr/>
          <p:nvPr/>
        </p:nvGrpSpPr>
        <p:grpSpPr>
          <a:xfrm>
            <a:off x="10270670" y="-1638753"/>
            <a:ext cx="1598523" cy="2005765"/>
            <a:chOff x="2055768" y="1602865"/>
            <a:chExt cx="1598523" cy="2005765"/>
          </a:xfrm>
        </p:grpSpPr>
        <p:sp>
          <p:nvSpPr>
            <p:cNvPr id="19" name="Teardrop 121">
              <a:extLst>
                <a:ext uri="{FF2B5EF4-FFF2-40B4-BE49-F238E27FC236}">
                  <a16:creationId xmlns:a16="http://schemas.microsoft.com/office/drawing/2014/main" id="{23CE6FEF-1AA2-3B89-F2FC-DAAD4E0DF6B7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Freeform 23">
              <a:extLst>
                <a:ext uri="{FF2B5EF4-FFF2-40B4-BE49-F238E27FC236}">
                  <a16:creationId xmlns:a16="http://schemas.microsoft.com/office/drawing/2014/main" id="{FBC688EF-A571-6511-8B80-10FD4F09B015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Oval 124">
              <a:extLst>
                <a:ext uri="{FF2B5EF4-FFF2-40B4-BE49-F238E27FC236}">
                  <a16:creationId xmlns:a16="http://schemas.microsoft.com/office/drawing/2014/main" id="{EBB52942-46EA-F8C7-208D-4B444C6A2A66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22" name="Grafik 21" descr="Schaf mit einfarbiger Füllung">
            <a:extLst>
              <a:ext uri="{FF2B5EF4-FFF2-40B4-BE49-F238E27FC236}">
                <a16:creationId xmlns:a16="http://schemas.microsoft.com/office/drawing/2014/main" id="{3634F828-34F2-4CF7-3468-9BC7644C543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78633" y="-1326262"/>
            <a:ext cx="828000" cy="828000"/>
          </a:xfrm>
          <a:prstGeom prst="rect">
            <a:avLst/>
          </a:prstGeom>
        </p:spPr>
      </p:pic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C62BF07F-2987-F7D1-E067-31510F56CD4C}"/>
              </a:ext>
            </a:extLst>
          </p:cNvPr>
          <p:cNvSpPr txBox="1">
            <a:spLocks/>
          </p:cNvSpPr>
          <p:nvPr/>
        </p:nvSpPr>
        <p:spPr bwMode="gray">
          <a:xfrm>
            <a:off x="10019300" y="-635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5554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4.07407E-6 L 1.04167E-6 0.00023 C 0.04297 -0.01737 0.08646 -0.03195 0.12917 -0.05186 C 0.15651 -0.06482 0.20612 -0.08912 0.23503 -0.09931 C 0.24492 -0.10278 0.25495 -0.10417 0.26497 -0.10672 C 0.27734 -0.11019 0.28607 -0.11204 0.29753 -0.12014 C 0.32969 -0.14283 0.30989 -0.12987 0.33503 -0.15417 C 0.34206 -0.16112 0.34961 -0.16621 0.35664 -0.17338 C 0.36302 -0.1801 0.36888 -0.1882 0.375 -0.19561 C 0.37591 -0.19676 0.37943 -0.20186 0.38086 -0.20301 C 0.38164 -0.20371 0.38242 -0.20417 0.38333 -0.20463 L 0.39831 -0.21204 C 0.39974 -0.2125 0.40104 -0.2132 0.40247 -0.21343 C 0.40417 -0.21366 0.40586 -0.21343 0.40755 -0.21343 " pathEditMode="relative" rAng="0" ptsTypes="AAAAAAAAAAAAAA">
                                      <p:cBhvr>
                                        <p:cTn id="6" dur="3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378" y="-10671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1.11111E-6 L -1.66667E-6 0.00023 C 0.04297 -0.01736 0.08646 -0.03194 0.12917 -0.05185 C 0.15651 -0.06481 0.20612 -0.08912 0.23503 -0.0993 C 0.24492 -0.10278 0.25495 -0.10417 0.26498 -0.10671 C 0.27735 -0.11018 0.28607 -0.11204 0.29753 -0.12014 C 0.32969 -0.14282 0.3099 -0.12986 0.33503 -0.15417 C 0.34206 -0.16111 0.34961 -0.1662 0.35664 -0.17338 C 0.36302 -0.18009 0.36888 -0.18819 0.375 -0.1956 C 0.37591 -0.19676 0.37943 -0.20185 0.38086 -0.20301 C 0.38164 -0.2037 0.38242 -0.20417 0.38334 -0.20463 L 0.39831 -0.21204 C 0.39974 -0.2125 0.40104 -0.21319 0.40248 -0.21342 C 0.40417 -0.21366 0.40586 -0.21342 0.40755 -0.21342 " pathEditMode="relative" rAng="0" ptsTypes="AAAAAAAAAAAAAA">
                                      <p:cBhvr>
                                        <p:cTn id="8" dur="3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378" y="-10671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4.07407E-6 L -1.25E-6 0.00023 C 0.04297 -0.01737 0.08646 -0.03195 0.12917 -0.05186 C 0.15651 -0.06482 0.20612 -0.08912 0.23503 -0.09931 C 0.24492 -0.10278 0.25495 -0.10417 0.26498 -0.10672 C 0.27735 -0.11019 0.28607 -0.11204 0.29753 -0.12014 C 0.32969 -0.14283 0.3099 -0.12987 0.33503 -0.15417 C 0.34206 -0.16112 0.34961 -0.16621 0.35664 -0.17338 C 0.36302 -0.1801 0.36888 -0.1882 0.375 -0.19561 C 0.37591 -0.19676 0.37943 -0.20186 0.38086 -0.20301 C 0.38164 -0.20371 0.38242 -0.20417 0.38333 -0.20463 L 0.39831 -0.21204 C 0.39974 -0.2125 0.40104 -0.2132 0.40248 -0.21343 C 0.40417 -0.21366 0.40586 -0.21343 0.40755 -0.21343 " pathEditMode="relative" rAng="0" ptsTypes="AAAAAAAAAAAAAA">
                                      <p:cBhvr>
                                        <p:cTn id="10" dur="3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378" y="-1067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2.59259E-6 L -2.08333E-6 0.00023 C 0.04297 -0.01736 0.08646 -0.03194 0.12917 -0.05185 C 0.15651 -0.06481 0.20612 -0.08912 0.23503 -0.0993 C 0.24492 -0.10278 0.25495 -0.10416 0.26498 -0.10671 C 0.27735 -0.11018 0.28607 -0.11203 0.29753 -0.12014 C 0.32969 -0.14282 0.3099 -0.12986 0.33503 -0.15416 C 0.34206 -0.16111 0.34961 -0.1662 0.35664 -0.17338 C 0.36302 -0.18009 0.36888 -0.18819 0.375 -0.1956 C 0.37591 -0.19676 0.37943 -0.20185 0.38086 -0.20301 C 0.38164 -0.2037 0.38242 -0.20416 0.38334 -0.20463 L 0.39831 -0.21203 C 0.39974 -0.2125 0.40104 -0.21319 0.40248 -0.21342 C 0.40417 -0.21365 0.40586 -0.21342 0.40755 -0.21342 " pathEditMode="relative" rAng="0" ptsTypes="AAAAAAAAAAAAAA">
                                      <p:cBhvr>
                                        <p:cTn id="12" dur="3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378" y="-10671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443 0.00093 L 0.00443 0.00116 C 0.01601 -0.00602 0.02786 -0.01203 0.03932 -0.0199 C 0.04375 -0.02291 0.04765 -0.02801 0.05182 -0.03171 C 0.08086 -0.05625 0.06888 -0.04745 0.08932 -0.05833 C 0.09101 -0.05926 0.09271 -0.06065 0.0944 -0.06134 C 0.09622 -0.06203 0.09831 -0.06227 0.10026 -0.06273 C 0.10547 -0.06389 0.11081 -0.06481 0.11601 -0.06574 C 0.12357 -0.0669 0.13555 -0.06805 0.14271 -0.06875 C 0.1845 -0.06666 0.16068 -0.0706 0.17604 -0.06574 C 0.17773 -0.06528 0.17943 -0.06504 0.18099 -0.06435 C 0.18268 -0.06342 0.18437 -0.06227 0.18607 -0.06134 C 0.18932 -0.05671 0.19206 -0.05301 0.19609 -0.04953 C 0.19713 -0.04838 0.19831 -0.04768 0.19935 -0.04653 C 0.20065 -0.0449 0.20143 -0.04213 0.20273 -0.04051 C 0.20338 -0.03958 0.20443 -0.03981 0.20521 -0.03912 C 0.20859 -0.03634 0.21172 -0.03217 0.21523 -0.03009 C 0.21693 -0.02916 0.21862 -0.02847 0.22018 -0.02731 C 0.22187 -0.02592 0.22357 -0.02453 0.22526 -0.02268 C 0.22721 -0.0206 0.22877 -0.0169 0.23099 -0.01528 C 0.23424 -0.01319 0.23776 -0.01389 0.24101 -0.0125 C 0.2444 -0.01088 0.24778 -0.00995 0.25104 -0.00787 C 0.25182 -0.0074 0.25273 -0.00694 0.25351 -0.00648 C 0.25495 -0.00555 0.25625 -0.0044 0.25768 -0.00347 C 0.25911 -0.00278 0.26055 -0.00254 0.26185 -0.00208 C 0.26406 -0.00115 0.26627 -2.59259E-6 0.26849 0.00093 C 0.27226 0.00232 0.27943 0.00324 0.28268 0.00394 C 0.28607 0.00579 0.28932 0.00834 0.29271 0.00972 C 0.29778 0.01204 0.29492 0.01065 0.30104 0.01435 C 0.30521 0.01227 0.3095 0.01111 0.31354 0.00834 C 0.31458 0.00764 0.3151 0.0051 0.31601 0.00394 C 0.31758 0.00209 0.3194 0.00116 0.32109 -0.00046 C 0.32513 -0.00486 0.32357 -0.0044 0.32682 -0.00949 C 0.32903 -0.01273 0.33099 -0.01412 0.33268 -0.01828 C 0.33437 -0.02245 0.33815 -0.03356 0.33932 -0.03912 C 0.3401 -0.04236 0.34049 -0.04606 0.34101 -0.04953 C 0.34127 -0.05926 0.34127 -0.06921 0.34193 -0.07893 C 0.34206 -0.08217 0.3431 -0.08495 0.34349 -0.08796 C 0.34388 -0.09028 0.34414 -0.09282 0.3444 -0.09537 C 0.3457 -0.11088 0.34427 -0.10254 0.34609 -0.11157 C 0.34635 -0.11666 0.34661 -0.12153 0.34687 -0.12639 C 0.34726 -0.13426 0.34726 -0.14236 0.34765 -0.15 C 0.34805 -0.15602 0.3487 -0.16203 0.34935 -0.16782 C 0.35195 -0.19097 0.35 -0.16782 0.35443 -0.19606 C 0.35521 -0.20139 0.35547 -0.20694 0.35599 -0.21227 C 0.35625 -0.21435 0.35638 -0.21643 0.3569 -0.21828 C 0.35755 -0.22129 0.35846 -0.2243 0.35937 -0.22708 C 0.36107 -0.2324 0.36015 -0.23148 0.36276 -0.23148 " pathEditMode="relative" rAng="0" ptsTypes="AAAAAAAAAAAAAAAAAAAAAAAAAAAAAAAAAAAAAAAAAAAAAAAA">
                                      <p:cBhvr>
                                        <p:cTn id="14" dur="4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917" y="-109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4.81481E-6 L 1.875E-6 0.00023 C 0.00416 -0.00047 0.00859 -0.00024 0.01276 -0.00139 C 0.01393 -0.00186 0.01458 -0.00325 0.01549 -0.0044 C 0.01849 -0.00788 0.02122 -0.0125 0.02474 -0.01482 C 0.02773 -0.01667 0.03099 -0.0176 0.03398 -0.01922 C 0.03581 -0.02014 0.03776 -0.0213 0.03958 -0.02223 C 0.04206 -0.02338 0.04453 -0.02408 0.04687 -0.02524 C 0.04883 -0.02593 0.05052 -0.02732 0.05234 -0.02801 C 0.05456 -0.02917 0.0569 -0.02987 0.05885 -0.03102 C 0.06081 -0.03218 0.0625 -0.03473 0.06432 -0.03542 C 0.0668 -0.03658 0.0694 -0.03635 0.07187 -0.03704 C 0.07565 -0.0382 0.07903 -0.04051 0.08281 -0.04144 C 0.08984 -0.04306 0.09713 -0.04237 0.10416 -0.04445 L 0.11419 -0.04746 C 0.11888 -0.04885 0.12344 -0.0507 0.12812 -0.05186 C 0.13164 -0.05278 0.13541 -0.05278 0.13919 -0.05325 C 0.14661 -0.05741 0.15443 -0.06065 0.16224 -0.06366 C 0.16497 -0.06482 0.16771 -0.06575 0.17044 -0.06667 C 0.17291 -0.06737 0.17552 -0.0676 0.17799 -0.06806 C 0.20377 -0.08056 0.19153 -0.07616 0.24336 -0.07408 C 0.26133 -0.07338 0.27903 -0.07014 0.29687 -0.06806 C 0.30091 -0.06505 0.30495 -0.0625 0.30885 -0.05926 C 0.31081 -0.05764 0.3125 -0.05463 0.31445 -0.05325 C 0.31732 -0.05116 0.3207 -0.0507 0.3237 -0.04885 C 0.32708 -0.04676 0.33034 -0.04375 0.33372 -0.04144 C 0.34505 -0.03403 0.35039 -0.0338 0.36237 -0.02223 C 0.37956 -0.00556 0.35351 -0.03125 0.37148 -0.01181 C 0.37552 -0.00764 0.37956 -0.00394 0.38359 4.81481E-6 C 0.38502 0.00162 0.38685 0.00277 0.38828 0.00439 C 0.38893 0.00555 0.39336 0.01087 0.39466 0.0118 C 0.39622 0.01296 0.39791 0.01342 0.39922 0.01481 C 0.40195 0.01736 0.40364 0.02245 0.40664 0.02384 C 0.41432 0.02685 0.40586 0.02291 0.41588 0.02962 C 0.41771 0.03078 0.41966 0.03148 0.42135 0.03263 C 0.42838 0.03726 0.42526 0.03703 0.43255 0.04004 C 0.43424 0.04074 0.4362 0.04074 0.43802 0.04143 C 0.44609 0.04467 0.44127 0.04467 0.45 0.04745 C 0.45403 0.04861 0.45807 0.04953 0.46211 0.05046 C 0.46719 0.05162 0.47552 0.05254 0.48047 0.05347 C 0.48789 0.05277 0.49518 0.05324 0.5026 0.05185 C 0.50403 0.05162 0.50495 0.04953 0.50625 0.04884 C 0.50937 0.04745 0.51263 0.04791 0.51549 0.04606 C 0.51693 0.0449 0.51862 0.04351 0.52018 0.04305 C 0.52539 0.0412 0.53073 0.0405 0.53581 0.03865 C 0.53698 0.03796 0.53828 0.03773 0.53945 0.03703 C 0.54075 0.03634 0.54193 0.03518 0.54323 0.03402 C 0.55065 0.01597 0.54336 0.03449 0.54974 0.01643 C 0.55013 0.01481 0.55104 0.01342 0.55143 0.0118 C 0.55338 0.00462 0.55312 0.00277 0.5543 -0.0044 C 0.55469 -0.00834 0.55547 -0.01227 0.55599 -0.01621 C 0.55638 -0.01783 0.55677 -0.01922 0.55703 -0.02061 C 0.55781 -0.02616 0.5582 -0.03149 0.55898 -0.03704 C 0.5582 -0.08588 0.55794 -0.13473 0.55703 -0.18357 C 0.55495 -0.28704 0.55521 -0.18843 0.55521 -0.23542 " pathEditMode="relative" rAng="0" ptsTypes="AAAAAAAAAAAAAAAAAAAAAAAAAAAAAAAAAAAAAAAAAAAAAAAAAAAAAAA">
                                      <p:cBhvr>
                                        <p:cTn id="16" dur="4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943" y="-909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verview</a:t>
            </a:r>
            <a:br>
              <a:rPr lang="de-DE" dirty="0"/>
            </a:br>
            <a:endParaRPr lang="de-DE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3789814"/>
            <a:ext cx="2160000" cy="3742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5147251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9971346" y="-596384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10322479" y="-1695201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10275139" y="-561344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10514865" y="-1539414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10858399" y="-1255161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79" name="Hexagon 60">
            <a:extLst>
              <a:ext uri="{FF2B5EF4-FFF2-40B4-BE49-F238E27FC236}">
                <a16:creationId xmlns:a16="http://schemas.microsoft.com/office/drawing/2014/main" id="{24AA19EE-F311-8969-97B3-81D46694810D}"/>
              </a:ext>
            </a:extLst>
          </p:cNvPr>
          <p:cNvSpPr/>
          <p:nvPr/>
        </p:nvSpPr>
        <p:spPr bwMode="gray">
          <a:xfrm>
            <a:off x="5958995" y="2199022"/>
            <a:ext cx="2133285" cy="1839039"/>
          </a:xfrm>
          <a:prstGeom prst="hexagon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3" name="Rectangle 64">
            <a:extLst>
              <a:ext uri="{FF2B5EF4-FFF2-40B4-BE49-F238E27FC236}">
                <a16:creationId xmlns:a16="http://schemas.microsoft.com/office/drawing/2014/main" id="{8FBC690C-FE8E-4EAB-34D8-6A44A3B72C60}"/>
              </a:ext>
            </a:extLst>
          </p:cNvPr>
          <p:cNvSpPr/>
          <p:nvPr/>
        </p:nvSpPr>
        <p:spPr>
          <a:xfrm>
            <a:off x="7951157" y="2632444"/>
            <a:ext cx="1668149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ea typeface="+mn-ea"/>
                <a:cs typeface="+mn-cs"/>
              </a:rPr>
              <a:t>Shepheard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ea typeface="+mn-ea"/>
                <a:cs typeface="+mn-cs"/>
              </a:rPr>
              <a:t> / Dog</a:t>
            </a:r>
          </a:p>
        </p:txBody>
      </p:sp>
      <p:sp>
        <p:nvSpPr>
          <p:cNvPr id="84" name="Rectangle 65">
            <a:extLst>
              <a:ext uri="{FF2B5EF4-FFF2-40B4-BE49-F238E27FC236}">
                <a16:creationId xmlns:a16="http://schemas.microsoft.com/office/drawing/2014/main" id="{0D6392DE-49B7-1447-3703-CC33D3C6404C}"/>
              </a:ext>
            </a:extLst>
          </p:cNvPr>
          <p:cNvSpPr/>
          <p:nvPr/>
        </p:nvSpPr>
        <p:spPr>
          <a:xfrm>
            <a:off x="7951157" y="2925306"/>
            <a:ext cx="295180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>
                <a:solidFill>
                  <a:prstClr val="black"/>
                </a:solidFill>
              </a:rPr>
              <a:t>Movement </a:t>
            </a:r>
            <a:r>
              <a:rPr lang="de-DE" sz="1400" dirty="0" err="1">
                <a:solidFill>
                  <a:prstClr val="black"/>
                </a:solidFill>
              </a:rPr>
              <a:t>based</a:t>
            </a:r>
            <a:r>
              <a:rPr lang="de-DE" sz="1400" dirty="0">
                <a:solidFill>
                  <a:prstClr val="black"/>
                </a:solidFill>
              </a:rPr>
              <a:t> on </a:t>
            </a:r>
            <a:r>
              <a:rPr lang="de-DE" sz="1400" dirty="0" err="1">
                <a:solidFill>
                  <a:prstClr val="black"/>
                </a:solidFill>
              </a:rPr>
              <a:t>objective</a:t>
            </a:r>
            <a:r>
              <a:rPr lang="de-DE" sz="1400" dirty="0">
                <a:solidFill>
                  <a:prstClr val="black"/>
                </a:solidFill>
              </a:rPr>
              <a:t> </a:t>
            </a:r>
            <a:r>
              <a:rPr lang="de-DE" sz="1400" dirty="0" err="1">
                <a:solidFill>
                  <a:prstClr val="black"/>
                </a:solidFill>
              </a:rPr>
              <a:t>Function</a:t>
            </a:r>
            <a:endParaRPr lang="de-DE" sz="140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nitially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nly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ne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hepheard</a:t>
            </a:r>
            <a:endParaRPr kumimoji="0" lang="de-DE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7" name="Hexagon 74">
            <a:extLst>
              <a:ext uri="{FF2B5EF4-FFF2-40B4-BE49-F238E27FC236}">
                <a16:creationId xmlns:a16="http://schemas.microsoft.com/office/drawing/2014/main" id="{E2F8176D-B747-452F-D065-45513620ED20}"/>
              </a:ext>
            </a:extLst>
          </p:cNvPr>
          <p:cNvSpPr/>
          <p:nvPr/>
        </p:nvSpPr>
        <p:spPr bwMode="gray">
          <a:xfrm>
            <a:off x="4029738" y="3325424"/>
            <a:ext cx="2133285" cy="1839039"/>
          </a:xfrm>
          <a:prstGeom prst="hexagon">
            <a:avLst/>
          </a:prstGeom>
          <a:solidFill>
            <a:srgbClr val="0D839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9" name="Pentagon 34">
            <a:extLst>
              <a:ext uri="{FF2B5EF4-FFF2-40B4-BE49-F238E27FC236}">
                <a16:creationId xmlns:a16="http://schemas.microsoft.com/office/drawing/2014/main" id="{2E13B419-D8EF-AEF4-BB3F-FCF8F77E0956}"/>
              </a:ext>
            </a:extLst>
          </p:cNvPr>
          <p:cNvSpPr/>
          <p:nvPr/>
        </p:nvSpPr>
        <p:spPr bwMode="gray">
          <a:xfrm>
            <a:off x="597673" y="3606124"/>
            <a:ext cx="525735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872994" y="3699505"/>
            <a:ext cx="2196820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 err="1">
                <a:solidFill>
                  <a:srgbClr val="0D8390"/>
                </a:solidFill>
              </a:rPr>
              <a:t>Agents</a:t>
            </a:r>
            <a:r>
              <a:rPr lang="de-DE" sz="1600" b="1" dirty="0">
                <a:solidFill>
                  <a:srgbClr val="0D8390"/>
                </a:solidFill>
              </a:rPr>
              <a:t> / </a:t>
            </a:r>
            <a:r>
              <a:rPr lang="de-DE" sz="1600" b="1" dirty="0" err="1">
                <a:solidFill>
                  <a:srgbClr val="0D8390"/>
                </a:solidFill>
              </a:rPr>
              <a:t>Sheeps</a:t>
            </a:r>
            <a:r>
              <a:rPr lang="de-DE" sz="1600" b="1" dirty="0">
                <a:solidFill>
                  <a:srgbClr val="0D8390"/>
                </a:solidFill>
              </a:rPr>
              <a:t> / Herd 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2" name="Rectangle 79">
            <a:extLst>
              <a:ext uri="{FF2B5EF4-FFF2-40B4-BE49-F238E27FC236}">
                <a16:creationId xmlns:a16="http://schemas.microsoft.com/office/drawing/2014/main" id="{B5652194-27C9-1428-3825-7C33B4BFD22D}"/>
              </a:ext>
            </a:extLst>
          </p:cNvPr>
          <p:cNvSpPr/>
          <p:nvPr/>
        </p:nvSpPr>
        <p:spPr>
          <a:xfrm>
            <a:off x="881443" y="3977552"/>
            <a:ext cx="295180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e-DE" sz="1400" dirty="0" err="1"/>
              <a:t>Consists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N </a:t>
            </a:r>
            <a:r>
              <a:rPr lang="de-DE" sz="1400" dirty="0" err="1"/>
              <a:t>Agents</a:t>
            </a:r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e-DE" sz="1400" dirty="0"/>
              <a:t>Move in a </a:t>
            </a:r>
            <a:r>
              <a:rPr lang="de-DE" sz="1400" dirty="0" err="1"/>
              <a:t>two</a:t>
            </a:r>
            <a:r>
              <a:rPr lang="de-DE" sz="1400" dirty="0"/>
              <a:t> dimensional </a:t>
            </a:r>
            <a:r>
              <a:rPr lang="de-DE" sz="1400" dirty="0" err="1"/>
              <a:t>field</a:t>
            </a:r>
            <a:endParaRPr lang="de-DE" sz="140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/>
              <a:t>Movement </a:t>
            </a:r>
            <a:r>
              <a:rPr lang="de-DE" sz="1400" dirty="0" err="1"/>
              <a:t>based</a:t>
            </a:r>
            <a:r>
              <a:rPr lang="de-DE" sz="1400" dirty="0"/>
              <a:t> on Reynolds’ </a:t>
            </a:r>
            <a:r>
              <a:rPr lang="de-DE" sz="1400" dirty="0" err="1"/>
              <a:t>boids</a:t>
            </a:r>
            <a:r>
              <a:rPr lang="de-DE" sz="1400" dirty="0"/>
              <a:t> </a:t>
            </a:r>
            <a:r>
              <a:rPr lang="de-DE" sz="1400" dirty="0" err="1"/>
              <a:t>model</a:t>
            </a:r>
            <a:endParaRPr lang="de-DE" sz="1400" dirty="0"/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4" name="Freihandform: Form 113">
            <a:extLst>
              <a:ext uri="{FF2B5EF4-FFF2-40B4-BE49-F238E27FC236}">
                <a16:creationId xmlns:a16="http://schemas.microsoft.com/office/drawing/2014/main" id="{9B3CFD9B-7095-43F8-4FE5-2D6DBF676374}"/>
              </a:ext>
            </a:extLst>
          </p:cNvPr>
          <p:cNvSpPr/>
          <p:nvPr/>
        </p:nvSpPr>
        <p:spPr>
          <a:xfrm>
            <a:off x="6607066" y="2861365"/>
            <a:ext cx="837670" cy="514970"/>
          </a:xfrm>
          <a:custGeom>
            <a:avLst/>
            <a:gdLst>
              <a:gd name="connsiteX0" fmla="*/ 778616 w 837670"/>
              <a:gd name="connsiteY0" fmla="*/ 59055 h 514970"/>
              <a:gd name="connsiteX1" fmla="*/ 704321 w 837670"/>
              <a:gd name="connsiteY1" fmla="*/ 0 h 514970"/>
              <a:gd name="connsiteX2" fmla="*/ 651933 w 837670"/>
              <a:gd name="connsiteY2" fmla="*/ 0 h 514970"/>
              <a:gd name="connsiteX3" fmla="*/ 641456 w 837670"/>
              <a:gd name="connsiteY3" fmla="*/ 60960 h 514970"/>
              <a:gd name="connsiteX4" fmla="*/ 643361 w 837670"/>
              <a:gd name="connsiteY4" fmla="*/ 79057 h 514970"/>
              <a:gd name="connsiteX5" fmla="*/ 664316 w 837670"/>
              <a:gd name="connsiteY5" fmla="*/ 95250 h 514970"/>
              <a:gd name="connsiteX6" fmla="*/ 690033 w 837670"/>
              <a:gd name="connsiteY6" fmla="*/ 86678 h 514970"/>
              <a:gd name="connsiteX7" fmla="*/ 697653 w 837670"/>
              <a:gd name="connsiteY7" fmla="*/ 70485 h 514970"/>
              <a:gd name="connsiteX8" fmla="*/ 704321 w 837670"/>
              <a:gd name="connsiteY8" fmla="*/ 34290 h 514970"/>
              <a:gd name="connsiteX9" fmla="*/ 715751 w 837670"/>
              <a:gd name="connsiteY9" fmla="*/ 26670 h 514970"/>
              <a:gd name="connsiteX10" fmla="*/ 723371 w 837670"/>
              <a:gd name="connsiteY10" fmla="*/ 38100 h 514970"/>
              <a:gd name="connsiteX11" fmla="*/ 717656 w 837670"/>
              <a:gd name="connsiteY11" fmla="*/ 73343 h 514970"/>
              <a:gd name="connsiteX12" fmla="*/ 696701 w 837670"/>
              <a:gd name="connsiteY12" fmla="*/ 106680 h 514970"/>
              <a:gd name="connsiteX13" fmla="*/ 670031 w 837670"/>
              <a:gd name="connsiteY13" fmla="*/ 114300 h 514970"/>
              <a:gd name="connsiteX14" fmla="*/ 661458 w 837670"/>
              <a:gd name="connsiteY14" fmla="*/ 113348 h 514970"/>
              <a:gd name="connsiteX15" fmla="*/ 628121 w 837670"/>
              <a:gd name="connsiteY15" fmla="*/ 90488 h 514970"/>
              <a:gd name="connsiteX16" fmla="*/ 622406 w 837670"/>
              <a:gd name="connsiteY16" fmla="*/ 57150 h 514970"/>
              <a:gd name="connsiteX17" fmla="*/ 630978 w 837670"/>
              <a:gd name="connsiteY17" fmla="*/ 6668 h 514970"/>
              <a:gd name="connsiteX18" fmla="*/ 564303 w 837670"/>
              <a:gd name="connsiteY18" fmla="*/ 80010 h 514970"/>
              <a:gd name="connsiteX19" fmla="*/ 509058 w 837670"/>
              <a:gd name="connsiteY19" fmla="*/ 104775 h 514970"/>
              <a:gd name="connsiteX20" fmla="*/ 237596 w 837670"/>
              <a:gd name="connsiteY20" fmla="*/ 104775 h 514970"/>
              <a:gd name="connsiteX21" fmla="*/ 172826 w 837670"/>
              <a:gd name="connsiteY21" fmla="*/ 130493 h 514970"/>
              <a:gd name="connsiteX22" fmla="*/ 53763 w 837670"/>
              <a:gd name="connsiteY22" fmla="*/ 53340 h 514970"/>
              <a:gd name="connsiteX23" fmla="*/ 15663 w 837670"/>
              <a:gd name="connsiteY23" fmla="*/ 40957 h 514970"/>
              <a:gd name="connsiteX24" fmla="*/ 4233 w 837670"/>
              <a:gd name="connsiteY24" fmla="*/ 80963 h 514970"/>
              <a:gd name="connsiteX25" fmla="*/ 145203 w 837670"/>
              <a:gd name="connsiteY25" fmla="*/ 182880 h 514970"/>
              <a:gd name="connsiteX26" fmla="*/ 142346 w 837670"/>
              <a:gd name="connsiteY26" fmla="*/ 200025 h 514970"/>
              <a:gd name="connsiteX27" fmla="*/ 142346 w 837670"/>
              <a:gd name="connsiteY27" fmla="*/ 484823 h 514970"/>
              <a:gd name="connsiteX28" fmla="*/ 165206 w 837670"/>
              <a:gd name="connsiteY28" fmla="*/ 514350 h 514970"/>
              <a:gd name="connsiteX29" fmla="*/ 199496 w 837670"/>
              <a:gd name="connsiteY29" fmla="*/ 486728 h 514970"/>
              <a:gd name="connsiteX30" fmla="*/ 199496 w 837670"/>
              <a:gd name="connsiteY30" fmla="*/ 304800 h 514970"/>
              <a:gd name="connsiteX31" fmla="*/ 329036 w 837670"/>
              <a:gd name="connsiteY31" fmla="*/ 304800 h 514970"/>
              <a:gd name="connsiteX32" fmla="*/ 428096 w 837670"/>
              <a:gd name="connsiteY32" fmla="*/ 333375 h 514970"/>
              <a:gd name="connsiteX33" fmla="*/ 466196 w 837670"/>
              <a:gd name="connsiteY33" fmla="*/ 333375 h 514970"/>
              <a:gd name="connsiteX34" fmla="*/ 466196 w 837670"/>
              <a:gd name="connsiteY34" fmla="*/ 483870 h 514970"/>
              <a:gd name="connsiteX35" fmla="*/ 492866 w 837670"/>
              <a:gd name="connsiteY35" fmla="*/ 514350 h 514970"/>
              <a:gd name="connsiteX36" fmla="*/ 523346 w 837670"/>
              <a:gd name="connsiteY36" fmla="*/ 485775 h 514970"/>
              <a:gd name="connsiteX37" fmla="*/ 523346 w 837670"/>
              <a:gd name="connsiteY37" fmla="*/ 333375 h 514970"/>
              <a:gd name="connsiteX38" fmla="*/ 561446 w 837670"/>
              <a:gd name="connsiteY38" fmla="*/ 333375 h 514970"/>
              <a:gd name="connsiteX39" fmla="*/ 561446 w 837670"/>
              <a:gd name="connsiteY39" fmla="*/ 484823 h 514970"/>
              <a:gd name="connsiteX40" fmla="*/ 584306 w 837670"/>
              <a:gd name="connsiteY40" fmla="*/ 514350 h 514970"/>
              <a:gd name="connsiteX41" fmla="*/ 618596 w 837670"/>
              <a:gd name="connsiteY41" fmla="*/ 486728 h 514970"/>
              <a:gd name="connsiteX42" fmla="*/ 618596 w 837670"/>
              <a:gd name="connsiteY42" fmla="*/ 309563 h 514970"/>
              <a:gd name="connsiteX43" fmla="*/ 656696 w 837670"/>
              <a:gd name="connsiteY43" fmla="*/ 238125 h 514970"/>
              <a:gd name="connsiteX44" fmla="*/ 694796 w 837670"/>
              <a:gd name="connsiteY44" fmla="*/ 142875 h 514970"/>
              <a:gd name="connsiteX45" fmla="*/ 780521 w 837670"/>
              <a:gd name="connsiteY45" fmla="*/ 142875 h 514970"/>
              <a:gd name="connsiteX46" fmla="*/ 837671 w 837670"/>
              <a:gd name="connsiteY46" fmla="*/ 85725 h 514970"/>
              <a:gd name="connsiteX47" fmla="*/ 778616 w 837670"/>
              <a:gd name="connsiteY47" fmla="*/ 59055 h 51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37670" h="514970">
                <a:moveTo>
                  <a:pt x="778616" y="59055"/>
                </a:moveTo>
                <a:cubicBezTo>
                  <a:pt x="770996" y="25718"/>
                  <a:pt x="740516" y="0"/>
                  <a:pt x="704321" y="0"/>
                </a:cubicBezTo>
                <a:lnTo>
                  <a:pt x="651933" y="0"/>
                </a:lnTo>
                <a:lnTo>
                  <a:pt x="641456" y="60960"/>
                </a:lnTo>
                <a:cubicBezTo>
                  <a:pt x="640503" y="66675"/>
                  <a:pt x="640503" y="73343"/>
                  <a:pt x="643361" y="79057"/>
                </a:cubicBezTo>
                <a:cubicBezTo>
                  <a:pt x="647171" y="87630"/>
                  <a:pt x="655743" y="93345"/>
                  <a:pt x="664316" y="95250"/>
                </a:cubicBezTo>
                <a:cubicBezTo>
                  <a:pt x="673841" y="97155"/>
                  <a:pt x="683366" y="94298"/>
                  <a:pt x="690033" y="86678"/>
                </a:cubicBezTo>
                <a:cubicBezTo>
                  <a:pt x="693843" y="81915"/>
                  <a:pt x="696701" y="76200"/>
                  <a:pt x="697653" y="70485"/>
                </a:cubicBezTo>
                <a:lnTo>
                  <a:pt x="704321" y="34290"/>
                </a:lnTo>
                <a:cubicBezTo>
                  <a:pt x="705273" y="29528"/>
                  <a:pt x="710036" y="25718"/>
                  <a:pt x="715751" y="26670"/>
                </a:cubicBezTo>
                <a:cubicBezTo>
                  <a:pt x="720513" y="27622"/>
                  <a:pt x="724323" y="32385"/>
                  <a:pt x="723371" y="38100"/>
                </a:cubicBezTo>
                <a:lnTo>
                  <a:pt x="717656" y="73343"/>
                </a:lnTo>
                <a:cubicBezTo>
                  <a:pt x="715751" y="86678"/>
                  <a:pt x="708131" y="99060"/>
                  <a:pt x="696701" y="106680"/>
                </a:cubicBezTo>
                <a:cubicBezTo>
                  <a:pt x="689081" y="112395"/>
                  <a:pt x="679556" y="114300"/>
                  <a:pt x="670031" y="114300"/>
                </a:cubicBezTo>
                <a:cubicBezTo>
                  <a:pt x="667173" y="114300"/>
                  <a:pt x="664316" y="114300"/>
                  <a:pt x="661458" y="113348"/>
                </a:cubicBezTo>
                <a:cubicBezTo>
                  <a:pt x="647171" y="110490"/>
                  <a:pt x="635741" y="102870"/>
                  <a:pt x="628121" y="90488"/>
                </a:cubicBezTo>
                <a:cubicBezTo>
                  <a:pt x="622406" y="80010"/>
                  <a:pt x="620501" y="68580"/>
                  <a:pt x="622406" y="57150"/>
                </a:cubicBezTo>
                <a:lnTo>
                  <a:pt x="630978" y="6668"/>
                </a:lnTo>
                <a:lnTo>
                  <a:pt x="564303" y="80010"/>
                </a:lnTo>
                <a:cubicBezTo>
                  <a:pt x="550968" y="95250"/>
                  <a:pt x="530013" y="104775"/>
                  <a:pt x="509058" y="104775"/>
                </a:cubicBezTo>
                <a:lnTo>
                  <a:pt x="237596" y="104775"/>
                </a:lnTo>
                <a:cubicBezTo>
                  <a:pt x="212831" y="104775"/>
                  <a:pt x="189971" y="114300"/>
                  <a:pt x="172826" y="130493"/>
                </a:cubicBezTo>
                <a:cubicBezTo>
                  <a:pt x="140441" y="124777"/>
                  <a:pt x="86148" y="107632"/>
                  <a:pt x="53763" y="53340"/>
                </a:cubicBezTo>
                <a:cubicBezTo>
                  <a:pt x="46143" y="40005"/>
                  <a:pt x="28998" y="34290"/>
                  <a:pt x="15663" y="40957"/>
                </a:cubicBezTo>
                <a:cubicBezTo>
                  <a:pt x="423" y="48578"/>
                  <a:pt x="-4339" y="66675"/>
                  <a:pt x="4233" y="80963"/>
                </a:cubicBezTo>
                <a:cubicBezTo>
                  <a:pt x="42333" y="145733"/>
                  <a:pt x="101388" y="171450"/>
                  <a:pt x="145203" y="182880"/>
                </a:cubicBezTo>
                <a:cubicBezTo>
                  <a:pt x="143298" y="188595"/>
                  <a:pt x="142346" y="194310"/>
                  <a:pt x="142346" y="200025"/>
                </a:cubicBezTo>
                <a:lnTo>
                  <a:pt x="142346" y="484823"/>
                </a:lnTo>
                <a:cubicBezTo>
                  <a:pt x="142346" y="499110"/>
                  <a:pt x="151871" y="511492"/>
                  <a:pt x="165206" y="514350"/>
                </a:cubicBezTo>
                <a:cubicBezTo>
                  <a:pt x="183303" y="518160"/>
                  <a:pt x="199496" y="503873"/>
                  <a:pt x="199496" y="486728"/>
                </a:cubicBezTo>
                <a:lnTo>
                  <a:pt x="199496" y="304800"/>
                </a:lnTo>
                <a:lnTo>
                  <a:pt x="329036" y="304800"/>
                </a:lnTo>
                <a:cubicBezTo>
                  <a:pt x="349038" y="321945"/>
                  <a:pt x="385233" y="333375"/>
                  <a:pt x="428096" y="333375"/>
                </a:cubicBezTo>
                <a:cubicBezTo>
                  <a:pt x="428096" y="333375"/>
                  <a:pt x="444288" y="333375"/>
                  <a:pt x="466196" y="333375"/>
                </a:cubicBezTo>
                <a:lnTo>
                  <a:pt x="466196" y="483870"/>
                </a:lnTo>
                <a:cubicBezTo>
                  <a:pt x="466196" y="499110"/>
                  <a:pt x="477626" y="513398"/>
                  <a:pt x="492866" y="514350"/>
                </a:cubicBezTo>
                <a:cubicBezTo>
                  <a:pt x="509058" y="515303"/>
                  <a:pt x="523346" y="501967"/>
                  <a:pt x="523346" y="485775"/>
                </a:cubicBezTo>
                <a:lnTo>
                  <a:pt x="523346" y="333375"/>
                </a:lnTo>
                <a:lnTo>
                  <a:pt x="561446" y="333375"/>
                </a:lnTo>
                <a:lnTo>
                  <a:pt x="561446" y="484823"/>
                </a:lnTo>
                <a:cubicBezTo>
                  <a:pt x="561446" y="499110"/>
                  <a:pt x="570971" y="511492"/>
                  <a:pt x="584306" y="514350"/>
                </a:cubicBezTo>
                <a:cubicBezTo>
                  <a:pt x="602403" y="518160"/>
                  <a:pt x="618596" y="503873"/>
                  <a:pt x="618596" y="486728"/>
                </a:cubicBezTo>
                <a:lnTo>
                  <a:pt x="618596" y="309563"/>
                </a:lnTo>
                <a:cubicBezTo>
                  <a:pt x="641456" y="280988"/>
                  <a:pt x="656696" y="238125"/>
                  <a:pt x="656696" y="238125"/>
                </a:cubicBezTo>
                <a:lnTo>
                  <a:pt x="694796" y="142875"/>
                </a:lnTo>
                <a:lnTo>
                  <a:pt x="780521" y="142875"/>
                </a:lnTo>
                <a:cubicBezTo>
                  <a:pt x="811953" y="142875"/>
                  <a:pt x="837671" y="117157"/>
                  <a:pt x="837671" y="85725"/>
                </a:cubicBezTo>
                <a:lnTo>
                  <a:pt x="778616" y="59055"/>
                </a:lnTo>
                <a:close/>
              </a:path>
            </a:pathLst>
          </a:custGeom>
          <a:solidFill>
            <a:srgbClr val="046A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5" name="Freihandform: Form 114">
            <a:extLst>
              <a:ext uri="{FF2B5EF4-FFF2-40B4-BE49-F238E27FC236}">
                <a16:creationId xmlns:a16="http://schemas.microsoft.com/office/drawing/2014/main" id="{DED4C6C1-34B4-6EB4-4AC9-75DDF05883B4}"/>
              </a:ext>
            </a:extLst>
          </p:cNvPr>
          <p:cNvSpPr/>
          <p:nvPr/>
        </p:nvSpPr>
        <p:spPr>
          <a:xfrm>
            <a:off x="6844662" y="3175690"/>
            <a:ext cx="57150" cy="190500"/>
          </a:xfrm>
          <a:custGeom>
            <a:avLst/>
            <a:gdLst>
              <a:gd name="connsiteX0" fmla="*/ 0 w 57150"/>
              <a:gd name="connsiteY0" fmla="*/ 161925 h 190500"/>
              <a:gd name="connsiteX1" fmla="*/ 28575 w 57150"/>
              <a:gd name="connsiteY1" fmla="*/ 190500 h 190500"/>
              <a:gd name="connsiteX2" fmla="*/ 57150 w 57150"/>
              <a:gd name="connsiteY2" fmla="*/ 161925 h 190500"/>
              <a:gd name="connsiteX3" fmla="*/ 57150 w 57150"/>
              <a:gd name="connsiteY3" fmla="*/ 0 h 190500"/>
              <a:gd name="connsiteX4" fmla="*/ 0 w 57150"/>
              <a:gd name="connsiteY4" fmla="*/ 0 h 190500"/>
              <a:gd name="connsiteX5" fmla="*/ 0 w 57150"/>
              <a:gd name="connsiteY5" fmla="*/ 161925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150" h="190500">
                <a:moveTo>
                  <a:pt x="0" y="161925"/>
                </a:moveTo>
                <a:cubicBezTo>
                  <a:pt x="0" y="178117"/>
                  <a:pt x="12382" y="190500"/>
                  <a:pt x="28575" y="190500"/>
                </a:cubicBezTo>
                <a:cubicBezTo>
                  <a:pt x="44768" y="190500"/>
                  <a:pt x="57150" y="178117"/>
                  <a:pt x="57150" y="161925"/>
                </a:cubicBezTo>
                <a:lnTo>
                  <a:pt x="57150" y="0"/>
                </a:lnTo>
                <a:lnTo>
                  <a:pt x="0" y="0"/>
                </a:lnTo>
                <a:lnTo>
                  <a:pt x="0" y="161925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5" name="Freihandform: Form 104">
            <a:extLst>
              <a:ext uri="{FF2B5EF4-FFF2-40B4-BE49-F238E27FC236}">
                <a16:creationId xmlns:a16="http://schemas.microsoft.com/office/drawing/2014/main" id="{56CA8B65-B543-1ED9-5F4A-18DF99509B57}"/>
              </a:ext>
            </a:extLst>
          </p:cNvPr>
          <p:cNvSpPr/>
          <p:nvPr/>
        </p:nvSpPr>
        <p:spPr>
          <a:xfrm>
            <a:off x="4648803" y="3918629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6" name="Freihandform: Form 105">
            <a:extLst>
              <a:ext uri="{FF2B5EF4-FFF2-40B4-BE49-F238E27FC236}">
                <a16:creationId xmlns:a16="http://schemas.microsoft.com/office/drawing/2014/main" id="{01B4D5F9-7BFF-A84D-3D38-E88685DF67B2}"/>
              </a:ext>
            </a:extLst>
          </p:cNvPr>
          <p:cNvSpPr/>
          <p:nvPr/>
        </p:nvSpPr>
        <p:spPr>
          <a:xfrm>
            <a:off x="4804135" y="4272254"/>
            <a:ext cx="51750" cy="129375"/>
          </a:xfrm>
          <a:custGeom>
            <a:avLst/>
            <a:gdLst>
              <a:gd name="connsiteX0" fmla="*/ 0 w 51750"/>
              <a:gd name="connsiteY0" fmla="*/ 103500 h 129375"/>
              <a:gd name="connsiteX1" fmla="*/ 25875 w 51750"/>
              <a:gd name="connsiteY1" fmla="*/ 129375 h 129375"/>
              <a:gd name="connsiteX2" fmla="*/ 51750 w 51750"/>
              <a:gd name="connsiteY2" fmla="*/ 103500 h 129375"/>
              <a:gd name="connsiteX3" fmla="*/ 51750 w 51750"/>
              <a:gd name="connsiteY3" fmla="*/ 4313 h 129375"/>
              <a:gd name="connsiteX4" fmla="*/ 0 w 51750"/>
              <a:gd name="connsiteY4" fmla="*/ 0 h 129375"/>
              <a:gd name="connsiteX5" fmla="*/ 0 w 51750"/>
              <a:gd name="connsiteY5" fmla="*/ 103500 h 12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29375">
                <a:moveTo>
                  <a:pt x="0" y="103500"/>
                </a:moveTo>
                <a:cubicBezTo>
                  <a:pt x="0" y="118162"/>
                  <a:pt x="11212" y="129375"/>
                  <a:pt x="25875" y="129375"/>
                </a:cubicBezTo>
                <a:cubicBezTo>
                  <a:pt x="40538" y="129375"/>
                  <a:pt x="51750" y="118162"/>
                  <a:pt x="51750" y="103500"/>
                </a:cubicBezTo>
                <a:lnTo>
                  <a:pt x="51750" y="4313"/>
                </a:lnTo>
                <a:lnTo>
                  <a:pt x="0" y="0"/>
                </a:lnTo>
                <a:lnTo>
                  <a:pt x="0" y="103500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7" name="Freihandform: Form 106">
            <a:extLst>
              <a:ext uri="{FF2B5EF4-FFF2-40B4-BE49-F238E27FC236}">
                <a16:creationId xmlns:a16="http://schemas.microsoft.com/office/drawing/2014/main" id="{F07CD663-708F-8BF0-A46D-F1B88575F5AD}"/>
              </a:ext>
            </a:extLst>
          </p:cNvPr>
          <p:cNvSpPr/>
          <p:nvPr/>
        </p:nvSpPr>
        <p:spPr>
          <a:xfrm>
            <a:off x="4968010" y="4295541"/>
            <a:ext cx="51750" cy="106087"/>
          </a:xfrm>
          <a:custGeom>
            <a:avLst/>
            <a:gdLst>
              <a:gd name="connsiteX0" fmla="*/ 0 w 51750"/>
              <a:gd name="connsiteY0" fmla="*/ 80212 h 106087"/>
              <a:gd name="connsiteX1" fmla="*/ 25875 w 51750"/>
              <a:gd name="connsiteY1" fmla="*/ 106087 h 106087"/>
              <a:gd name="connsiteX2" fmla="*/ 51750 w 51750"/>
              <a:gd name="connsiteY2" fmla="*/ 80212 h 106087"/>
              <a:gd name="connsiteX3" fmla="*/ 51750 w 51750"/>
              <a:gd name="connsiteY3" fmla="*/ 4312 h 106087"/>
              <a:gd name="connsiteX4" fmla="*/ 0 w 51750"/>
              <a:gd name="connsiteY4" fmla="*/ 0 h 106087"/>
              <a:gd name="connsiteX5" fmla="*/ 0 w 51750"/>
              <a:gd name="connsiteY5" fmla="*/ 80212 h 10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06087">
                <a:moveTo>
                  <a:pt x="0" y="80212"/>
                </a:moveTo>
                <a:cubicBezTo>
                  <a:pt x="0" y="94875"/>
                  <a:pt x="11212" y="106087"/>
                  <a:pt x="25875" y="106087"/>
                </a:cubicBezTo>
                <a:cubicBezTo>
                  <a:pt x="40538" y="106087"/>
                  <a:pt x="51750" y="94875"/>
                  <a:pt x="51750" y="80212"/>
                </a:cubicBezTo>
                <a:lnTo>
                  <a:pt x="51750" y="4312"/>
                </a:lnTo>
                <a:lnTo>
                  <a:pt x="0" y="0"/>
                </a:lnTo>
                <a:lnTo>
                  <a:pt x="0" y="80212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9" name="Freihandform: Form 108">
            <a:extLst>
              <a:ext uri="{FF2B5EF4-FFF2-40B4-BE49-F238E27FC236}">
                <a16:creationId xmlns:a16="http://schemas.microsoft.com/office/drawing/2014/main" id="{F0BA4A35-13AD-4882-2EA3-0B84B8F36571}"/>
              </a:ext>
            </a:extLst>
          </p:cNvPr>
          <p:cNvSpPr/>
          <p:nvPr/>
        </p:nvSpPr>
        <p:spPr>
          <a:xfrm>
            <a:off x="4853555" y="4225723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0" name="Freihandform: Form 109">
            <a:extLst>
              <a:ext uri="{FF2B5EF4-FFF2-40B4-BE49-F238E27FC236}">
                <a16:creationId xmlns:a16="http://schemas.microsoft.com/office/drawing/2014/main" id="{841EC66F-FC8C-1C6C-1351-213E44B044D2}"/>
              </a:ext>
            </a:extLst>
          </p:cNvPr>
          <p:cNvSpPr/>
          <p:nvPr/>
        </p:nvSpPr>
        <p:spPr>
          <a:xfrm>
            <a:off x="5008887" y="4579348"/>
            <a:ext cx="51750" cy="129375"/>
          </a:xfrm>
          <a:custGeom>
            <a:avLst/>
            <a:gdLst>
              <a:gd name="connsiteX0" fmla="*/ 0 w 51750"/>
              <a:gd name="connsiteY0" fmla="*/ 103500 h 129375"/>
              <a:gd name="connsiteX1" fmla="*/ 25875 w 51750"/>
              <a:gd name="connsiteY1" fmla="*/ 129375 h 129375"/>
              <a:gd name="connsiteX2" fmla="*/ 51750 w 51750"/>
              <a:gd name="connsiteY2" fmla="*/ 103500 h 129375"/>
              <a:gd name="connsiteX3" fmla="*/ 51750 w 51750"/>
              <a:gd name="connsiteY3" fmla="*/ 4313 h 129375"/>
              <a:gd name="connsiteX4" fmla="*/ 0 w 51750"/>
              <a:gd name="connsiteY4" fmla="*/ 0 h 129375"/>
              <a:gd name="connsiteX5" fmla="*/ 0 w 51750"/>
              <a:gd name="connsiteY5" fmla="*/ 103500 h 12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29375">
                <a:moveTo>
                  <a:pt x="0" y="103500"/>
                </a:moveTo>
                <a:cubicBezTo>
                  <a:pt x="0" y="118162"/>
                  <a:pt x="11212" y="129375"/>
                  <a:pt x="25875" y="129375"/>
                </a:cubicBezTo>
                <a:cubicBezTo>
                  <a:pt x="40538" y="129375"/>
                  <a:pt x="51750" y="118162"/>
                  <a:pt x="51750" y="103500"/>
                </a:cubicBezTo>
                <a:lnTo>
                  <a:pt x="51750" y="4313"/>
                </a:lnTo>
                <a:lnTo>
                  <a:pt x="0" y="0"/>
                </a:lnTo>
                <a:lnTo>
                  <a:pt x="0" y="103500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2" name="Freihandform: Form 111">
            <a:extLst>
              <a:ext uri="{FF2B5EF4-FFF2-40B4-BE49-F238E27FC236}">
                <a16:creationId xmlns:a16="http://schemas.microsoft.com/office/drawing/2014/main" id="{812C3ADA-3AAA-83B1-7847-A9C781AC475B}"/>
              </a:ext>
            </a:extLst>
          </p:cNvPr>
          <p:cNvSpPr/>
          <p:nvPr/>
        </p:nvSpPr>
        <p:spPr>
          <a:xfrm>
            <a:off x="5172762" y="4602635"/>
            <a:ext cx="51750" cy="106087"/>
          </a:xfrm>
          <a:custGeom>
            <a:avLst/>
            <a:gdLst>
              <a:gd name="connsiteX0" fmla="*/ 0 w 51750"/>
              <a:gd name="connsiteY0" fmla="*/ 80212 h 106087"/>
              <a:gd name="connsiteX1" fmla="*/ 25875 w 51750"/>
              <a:gd name="connsiteY1" fmla="*/ 106087 h 106087"/>
              <a:gd name="connsiteX2" fmla="*/ 51750 w 51750"/>
              <a:gd name="connsiteY2" fmla="*/ 80212 h 106087"/>
              <a:gd name="connsiteX3" fmla="*/ 51750 w 51750"/>
              <a:gd name="connsiteY3" fmla="*/ 4312 h 106087"/>
              <a:gd name="connsiteX4" fmla="*/ 0 w 51750"/>
              <a:gd name="connsiteY4" fmla="*/ 0 h 106087"/>
              <a:gd name="connsiteX5" fmla="*/ 0 w 51750"/>
              <a:gd name="connsiteY5" fmla="*/ 80212 h 10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06087">
                <a:moveTo>
                  <a:pt x="0" y="80212"/>
                </a:moveTo>
                <a:cubicBezTo>
                  <a:pt x="0" y="94875"/>
                  <a:pt x="11212" y="106087"/>
                  <a:pt x="25875" y="106087"/>
                </a:cubicBezTo>
                <a:cubicBezTo>
                  <a:pt x="40538" y="106087"/>
                  <a:pt x="51750" y="94875"/>
                  <a:pt x="51750" y="80212"/>
                </a:cubicBezTo>
                <a:lnTo>
                  <a:pt x="51750" y="4312"/>
                </a:lnTo>
                <a:lnTo>
                  <a:pt x="0" y="0"/>
                </a:lnTo>
                <a:lnTo>
                  <a:pt x="0" y="80212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Shephearding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/>
              <a:t>Model Description </a:t>
            </a:r>
            <a:br>
              <a:rPr lang="de-DE" dirty="0"/>
            </a:br>
            <a:endParaRPr lang="de-DE" dirty="0"/>
          </a:p>
        </p:txBody>
      </p:sp>
      <p:sp>
        <p:nvSpPr>
          <p:cNvPr id="116" name="Rectangle 79">
            <a:extLst>
              <a:ext uri="{FF2B5EF4-FFF2-40B4-BE49-F238E27FC236}">
                <a16:creationId xmlns:a16="http://schemas.microsoft.com/office/drawing/2014/main" id="{34094A0E-465F-1ED5-C497-19C7BF0A62C3}"/>
              </a:ext>
            </a:extLst>
          </p:cNvPr>
          <p:cNvSpPr/>
          <p:nvPr/>
        </p:nvSpPr>
        <p:spPr>
          <a:xfrm>
            <a:off x="881443" y="1663585"/>
            <a:ext cx="2951805" cy="523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e-DE" sz="1400" dirty="0"/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810294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9971346" y="-596384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10322479" y="-1695201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10275139" y="-561344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10514865" y="-1539414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10858399" y="-1255161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872994" y="1319095"/>
            <a:ext cx="1602746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D8390"/>
                </a:solidFill>
              </a:rPr>
              <a:t>Agent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Behaviour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/>
              <a:t>Model Description – </a:t>
            </a:r>
            <a:r>
              <a:rPr lang="de-DE" dirty="0" err="1"/>
              <a:t>Behaviou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Agents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1D7264E-83BF-0DDC-2431-E6C6751097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5018" y="1880407"/>
            <a:ext cx="6863809" cy="571134"/>
          </a:xfrm>
          <a:prstGeom prst="rect">
            <a:avLst/>
          </a:prstGeom>
        </p:spPr>
      </p:pic>
      <p:sp>
        <p:nvSpPr>
          <p:cNvPr id="42" name="Rechteck 41">
            <a:extLst>
              <a:ext uri="{FF2B5EF4-FFF2-40B4-BE49-F238E27FC236}">
                <a16:creationId xmlns:a16="http://schemas.microsoft.com/office/drawing/2014/main" id="{E92A5318-A8E2-1A4D-FC57-1498719C53B0}"/>
              </a:ext>
            </a:extLst>
          </p:cNvPr>
          <p:cNvSpPr/>
          <p:nvPr/>
        </p:nvSpPr>
        <p:spPr bwMode="gray">
          <a:xfrm>
            <a:off x="1654629" y="1880407"/>
            <a:ext cx="4299851" cy="3344736"/>
          </a:xfrm>
          <a:prstGeom prst="rect">
            <a:avLst/>
          </a:prstGeom>
          <a:solidFill>
            <a:srgbClr val="0D8390">
              <a:alpha val="18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C66EEE7C-C6D7-D23E-B53F-8226A1B22563}"/>
              </a:ext>
            </a:extLst>
          </p:cNvPr>
          <p:cNvSpPr/>
          <p:nvPr/>
        </p:nvSpPr>
        <p:spPr bwMode="gray">
          <a:xfrm>
            <a:off x="6035705" y="1880407"/>
            <a:ext cx="2603422" cy="3344736"/>
          </a:xfrm>
          <a:prstGeom prst="rect">
            <a:avLst/>
          </a:prstGeom>
          <a:solidFill>
            <a:srgbClr val="046A38">
              <a:alpha val="18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B1410067-C896-B916-E1DF-5B8176307AA2}"/>
              </a:ext>
            </a:extLst>
          </p:cNvPr>
          <p:cNvCxnSpPr>
            <a:cxnSpLocks/>
          </p:cNvCxnSpPr>
          <p:nvPr/>
        </p:nvCxnSpPr>
        <p:spPr>
          <a:xfrm rot="10800000">
            <a:off x="2264230" y="2451541"/>
            <a:ext cx="0" cy="56380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6196A370-EB53-E831-6815-55D28C21422E}"/>
              </a:ext>
            </a:extLst>
          </p:cNvPr>
          <p:cNvSpPr txBox="1"/>
          <p:nvPr/>
        </p:nvSpPr>
        <p:spPr>
          <a:xfrm>
            <a:off x="1791004" y="3061921"/>
            <a:ext cx="148841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 err="1">
                <a:solidFill>
                  <a:srgbClr val="313131"/>
                </a:solidFill>
              </a:rPr>
              <a:t>Local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alignment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to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herd</a:t>
            </a:r>
            <a:r>
              <a:rPr lang="de-DE" dirty="0">
                <a:solidFill>
                  <a:srgbClr val="313131"/>
                </a:solidFill>
              </a:rPr>
              <a:t> </a:t>
            </a: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328E72B6-D51D-EAFA-576F-37DA46ACB9B0}"/>
              </a:ext>
            </a:extLst>
          </p:cNvPr>
          <p:cNvCxnSpPr>
            <a:cxnSpLocks/>
          </p:cNvCxnSpPr>
          <p:nvPr/>
        </p:nvCxnSpPr>
        <p:spPr>
          <a:xfrm rot="10800000">
            <a:off x="3709099" y="2451541"/>
            <a:ext cx="0" cy="143664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CB47800D-5F21-3091-8989-A7521D639921}"/>
              </a:ext>
            </a:extLst>
          </p:cNvPr>
          <p:cNvSpPr txBox="1"/>
          <p:nvPr/>
        </p:nvSpPr>
        <p:spPr>
          <a:xfrm>
            <a:off x="3058879" y="3934768"/>
            <a:ext cx="148841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 err="1">
                <a:solidFill>
                  <a:srgbClr val="313131"/>
                </a:solidFill>
              </a:rPr>
              <a:t>Local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repulsion</a:t>
            </a:r>
            <a:endParaRPr lang="de-DE" dirty="0">
              <a:solidFill>
                <a:srgbClr val="313131"/>
              </a:solidFill>
            </a:endParaRP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EB58C822-901A-75B9-3722-0B315CF6F78B}"/>
              </a:ext>
            </a:extLst>
          </p:cNvPr>
          <p:cNvCxnSpPr>
            <a:cxnSpLocks/>
          </p:cNvCxnSpPr>
          <p:nvPr/>
        </p:nvCxnSpPr>
        <p:spPr>
          <a:xfrm rot="10800000">
            <a:off x="5257807" y="2451541"/>
            <a:ext cx="0" cy="56380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feld 38">
            <a:extLst>
              <a:ext uri="{FF2B5EF4-FFF2-40B4-BE49-F238E27FC236}">
                <a16:creationId xmlns:a16="http://schemas.microsoft.com/office/drawing/2014/main" id="{C459DCD9-870F-1EDF-F19D-842908692306}"/>
              </a:ext>
            </a:extLst>
          </p:cNvPr>
          <p:cNvSpPr txBox="1"/>
          <p:nvPr/>
        </p:nvSpPr>
        <p:spPr>
          <a:xfrm>
            <a:off x="4607587" y="3061921"/>
            <a:ext cx="148841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 err="1">
                <a:solidFill>
                  <a:srgbClr val="313131"/>
                </a:solidFill>
              </a:rPr>
              <a:t>Attraction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to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herd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center</a:t>
            </a:r>
            <a:endParaRPr lang="de-DE" dirty="0">
              <a:solidFill>
                <a:srgbClr val="313131"/>
              </a:solidFill>
            </a:endParaRPr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421DDC10-97CD-6F9C-2768-0ECE7039EC5D}"/>
              </a:ext>
            </a:extLst>
          </p:cNvPr>
          <p:cNvCxnSpPr>
            <a:cxnSpLocks/>
          </p:cNvCxnSpPr>
          <p:nvPr/>
        </p:nvCxnSpPr>
        <p:spPr>
          <a:xfrm rot="10800000">
            <a:off x="6725047" y="2451541"/>
            <a:ext cx="0" cy="143664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F2A8D9C3-6CDB-1A36-50C3-A1741DDBDF24}"/>
              </a:ext>
            </a:extLst>
          </p:cNvPr>
          <p:cNvSpPr txBox="1"/>
          <p:nvPr/>
        </p:nvSpPr>
        <p:spPr>
          <a:xfrm>
            <a:off x="6074827" y="3934768"/>
            <a:ext cx="148841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>
                <a:solidFill>
                  <a:srgbClr val="313131"/>
                </a:solidFill>
              </a:rPr>
              <a:t>Repulsion </a:t>
            </a:r>
            <a:r>
              <a:rPr lang="de-DE" dirty="0" err="1">
                <a:solidFill>
                  <a:srgbClr val="313131"/>
                </a:solidFill>
              </a:rPr>
              <a:t>from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shepherd</a:t>
            </a:r>
            <a:endParaRPr lang="de-DE" dirty="0">
              <a:solidFill>
                <a:srgbClr val="313131"/>
              </a:solidFill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45B09FBD-89D5-8A89-53C6-21FB725FD5FA}"/>
              </a:ext>
            </a:extLst>
          </p:cNvPr>
          <p:cNvSpPr txBox="1"/>
          <p:nvPr/>
        </p:nvSpPr>
        <p:spPr>
          <a:xfrm>
            <a:off x="2727585" y="4893903"/>
            <a:ext cx="262420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>
                <a:solidFill>
                  <a:srgbClr val="0D8390"/>
                </a:solidFill>
              </a:rPr>
              <a:t>Agent-agent </a:t>
            </a:r>
            <a:r>
              <a:rPr lang="de-DE" dirty="0" err="1">
                <a:solidFill>
                  <a:srgbClr val="0D8390"/>
                </a:solidFill>
              </a:rPr>
              <a:t>interactions</a:t>
            </a:r>
            <a:endParaRPr lang="de-DE" dirty="0">
              <a:solidFill>
                <a:srgbClr val="0D8390"/>
              </a:solidFill>
            </a:endParaRP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59DE5C9E-89A8-C8B6-5BCF-028B72F09842}"/>
              </a:ext>
            </a:extLst>
          </p:cNvPr>
          <p:cNvSpPr txBox="1"/>
          <p:nvPr/>
        </p:nvSpPr>
        <p:spPr>
          <a:xfrm>
            <a:off x="6074827" y="4893903"/>
            <a:ext cx="287323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>
                <a:solidFill>
                  <a:srgbClr val="046A38"/>
                </a:solidFill>
              </a:rPr>
              <a:t>Agent-</a:t>
            </a:r>
            <a:r>
              <a:rPr lang="de-DE" dirty="0" err="1">
                <a:solidFill>
                  <a:srgbClr val="046A38"/>
                </a:solidFill>
              </a:rPr>
              <a:t>shepherd</a:t>
            </a:r>
            <a:r>
              <a:rPr lang="de-DE" dirty="0">
                <a:solidFill>
                  <a:srgbClr val="046A38"/>
                </a:solidFill>
              </a:rPr>
              <a:t> </a:t>
            </a:r>
            <a:r>
              <a:rPr lang="de-DE" dirty="0" err="1">
                <a:solidFill>
                  <a:srgbClr val="046A38"/>
                </a:solidFill>
              </a:rPr>
              <a:t>interaction</a:t>
            </a:r>
            <a:endParaRPr lang="de-DE" dirty="0">
              <a:solidFill>
                <a:srgbClr val="046A38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D2E337B8-84D0-F665-4476-DC2A1BD9A24F}"/>
                  </a:ext>
                </a:extLst>
              </p:cNvPr>
              <p:cNvSpPr txBox="1"/>
              <p:nvPr/>
            </p:nvSpPr>
            <p:spPr>
              <a:xfrm>
                <a:off x="1121228" y="5514645"/>
                <a:ext cx="2153410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𝛼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 </m:t>
                      </m:r>
                      <m:r>
                        <a:rPr lang="de-DE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de-DE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𝛾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de-DE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𝛿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𝑟𝑒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𝑤𝑒𝑖𝑔h𝑡𝑠</m:t>
                      </m:r>
                    </m:oMath>
                  </m:oMathPara>
                </a14:m>
                <a:endParaRPr lang="de-DE" dirty="0">
                  <a:solidFill>
                    <a:srgbClr val="313131"/>
                  </a:solidFill>
                </a:endParaRPr>
              </a:p>
            </p:txBody>
          </p:sp>
        </mc:Choice>
        <mc:Fallback xmlns="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D2E337B8-84D0-F665-4476-DC2A1BD9A24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1228" y="5514645"/>
                <a:ext cx="2153410" cy="276999"/>
              </a:xfrm>
              <a:prstGeom prst="rect">
                <a:avLst/>
              </a:prstGeom>
              <a:blipFill>
                <a:blip r:embed="rId5"/>
                <a:stretch>
                  <a:fillRect l="-1133" t="-4444" r="-3399" b="-3555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2081082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4" grpId="0"/>
      <p:bldP spid="39" grpId="0"/>
      <p:bldP spid="4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00000000-0000-0000-0000-000000000000"/>
  <p:tag name="MIO_UPDATE" val="True"/>
  <p:tag name="MIO_VERSION" val="01.01.0001 00:00:00"/>
  <p:tag name="MIO_DBID" val=""/>
  <p:tag name="MIO_LASTDOWNLOADED" val="01.01.0001 00:00:00.000"/>
  <p:tag name="MIO_FALLBACK_LAYOUT" val="32"/>
  <p:tag name="MIO_SHOW_DATE" val="False"/>
  <p:tag name="MIO_SHOW_FOOTER" val="False"/>
  <p:tag name="MIO_SHOW_PAGENUMBER" val="False"/>
  <p:tag name="MIO_AVOID_BLANK_LAYOUT" val="False"/>
  <p:tag name="MIO_CD_LAYOUT_VALID_AREA" val="False"/>
  <p:tag name="MIO_NUMBER_OF_VALID_LAYOUTS" val="5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32"/>
  <p:tag name="MIO_SHOW_DATE" val="False"/>
  <p:tag name="MIO_SHOW_FOOTER" val="False"/>
  <p:tag name="MIO_SHOW_PAGENUMBER" val="True"/>
  <p:tag name="MIO_AVOID_BLANK_LAYOUT" val="False"/>
  <p:tag name="MIO_CD_LAYOUT_VALID_AREA" val="False"/>
  <p:tag name="MIO_NUMBER_OF_VALID_LAYOUTS" val="49"/>
  <p:tag name="MIO_HDS" val="True"/>
  <p:tag name="MIO_SKIPVERSION" val="01.01.0001 00:00:00"/>
  <p:tag name="MIO_EKGUID" val="15e6b1f2-4f4a-4ffc-adb1-bb269b750cdb"/>
  <p:tag name="MIO_UPDATE" val="True"/>
  <p:tag name="MIO_VERSION" val="19.03.2021 10:24:30"/>
  <p:tag name="MIO_DBID" val="fede6900-895c-4459-b97c-72b2b9dac459"/>
  <p:tag name="MIO_LASTDOWNLOADED" val="19.03.2021 11:32:18.789"/>
  <p:tag name="MIO_OBJECTNAME" val="Deloitte 16:9 (2021)"/>
  <p:tag name="MIO_CDID" val="b832c4bc-5070-4232-bfdb-3d42c9da7c2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70</Words>
  <Application>Microsoft Office PowerPoint</Application>
  <PresentationFormat>Breitbild</PresentationFormat>
  <Paragraphs>162</Paragraphs>
  <Slides>22</Slides>
  <Notes>17</Notes>
  <HiddenSlides>0</HiddenSlides>
  <MMClips>3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33" baseType="lpstr">
      <vt:lpstr>-apple-system</vt:lpstr>
      <vt:lpstr>Arial</vt:lpstr>
      <vt:lpstr>Calibri</vt:lpstr>
      <vt:lpstr>Calibri Light</vt:lpstr>
      <vt:lpstr>Cambria Math</vt:lpstr>
      <vt:lpstr>Google Sans</vt:lpstr>
      <vt:lpstr>Verdana</vt:lpstr>
      <vt:lpstr>Wingdings 2</vt:lpstr>
      <vt:lpstr>Office</vt:lpstr>
      <vt:lpstr>Deloitte Brand Theme</vt:lpstr>
      <vt:lpstr>think-cell Slide</vt:lpstr>
      <vt:lpstr>Collective Behavior  Optimal Shepherding  </vt:lpstr>
      <vt:lpstr>PowerPoint-Präsentation</vt:lpstr>
      <vt:lpstr>Agenda </vt:lpstr>
      <vt:lpstr>Introduction: Shepherding Problem</vt:lpstr>
      <vt:lpstr>Introduction: Shepherding Problem</vt:lpstr>
      <vt:lpstr>Introduction: Shepherding Problem</vt:lpstr>
      <vt:lpstr>Overview </vt:lpstr>
      <vt:lpstr>Model Description  </vt:lpstr>
      <vt:lpstr>Model Description – Behaviour of Agents</vt:lpstr>
      <vt:lpstr>Model Description – Behaviour of Shepherd</vt:lpstr>
      <vt:lpstr>Agenda </vt:lpstr>
      <vt:lpstr>Findings </vt:lpstr>
      <vt:lpstr>Videoexample: Droving </vt:lpstr>
      <vt:lpstr>Videoexample: Mustering </vt:lpstr>
      <vt:lpstr>Videoexample: Driving </vt:lpstr>
      <vt:lpstr>Overview </vt:lpstr>
      <vt:lpstr>Model Extensions</vt:lpstr>
      <vt:lpstr>Overview </vt:lpstr>
      <vt:lpstr>Results </vt:lpstr>
      <vt:lpstr>Results </vt:lpstr>
      <vt:lpstr>Outlook </vt:lpstr>
      <vt:lpstr>Thank you for your attention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lective Behavior  Optimal Shephearding  </dc:title>
  <dc:creator>Franz Muszarsky</dc:creator>
  <cp:lastModifiedBy>Franz Muszarsky</cp:lastModifiedBy>
  <cp:revision>6</cp:revision>
  <dcterms:created xsi:type="dcterms:W3CDTF">2024-01-03T20:27:13Z</dcterms:created>
  <dcterms:modified xsi:type="dcterms:W3CDTF">2024-01-06T17:19:29Z</dcterms:modified>
</cp:coreProperties>
</file>